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4.xml" ContentType="application/vnd.openxmlformats-officedocument.theme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6.xml" ContentType="application/vnd.openxmlformats-officedocument.theme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7.xml" ContentType="application/vnd.openxmlformats-officedocument.theme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8.xml" ContentType="application/vnd.openxmlformats-officedocument.them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9.xml" ContentType="application/vnd.openxmlformats-officedocument.theme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72" r:id="rId2"/>
    <p:sldMasterId id="2147483691" r:id="rId3"/>
    <p:sldMasterId id="2147483711" r:id="rId4"/>
    <p:sldMasterId id="2147483734" r:id="rId5"/>
    <p:sldMasterId id="2147483754" r:id="rId6"/>
    <p:sldMasterId id="2147483772" r:id="rId7"/>
    <p:sldMasterId id="2147483782" r:id="rId8"/>
    <p:sldMasterId id="2147483798" r:id="rId9"/>
  </p:sldMasterIdLst>
  <p:notesMasterIdLst>
    <p:notesMasterId r:id="rId17"/>
  </p:notesMasterIdLst>
  <p:sldIdLst>
    <p:sldId id="2147375847" r:id="rId10"/>
    <p:sldId id="2053842398" r:id="rId11"/>
    <p:sldId id="2147471738" r:id="rId12"/>
    <p:sldId id="2147375849" r:id="rId13"/>
    <p:sldId id="2147375742" r:id="rId14"/>
    <p:sldId id="2147375802" r:id="rId15"/>
    <p:sldId id="303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C07986-CBB5-E541-90B7-369FBE9C3504}" v="20" dt="2022-02-02T09:06:20.15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5122"/>
    <p:restoredTop sz="96208"/>
  </p:normalViewPr>
  <p:slideViewPr>
    <p:cSldViewPr snapToGrid="0" snapToObjects="1">
      <p:cViewPr varScale="1">
        <p:scale>
          <a:sx n="128" d="100"/>
          <a:sy n="128" d="100"/>
        </p:scale>
        <p:origin x="156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BBA27D-7B3C-F648-BE89-BF3784941910}" type="datetimeFigureOut">
              <a:rPr lang="en-US" smtClean="0"/>
              <a:t>2/1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E6DA69-2B5E-EF47-95CE-AAEA84CEB3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138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6DA69-2B5E-EF47-95CE-AAEA84CEB34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660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E6DA69-2B5E-EF47-95CE-AAEA84CEB34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5960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 February 202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 charset="-128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66538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AC633D-C8C3-294E-A7E2-FDEED1577DA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0080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12" Type="http://schemas.openxmlformats.org/officeDocument/2006/relationships/image" Target="../media/image7.wmf"/><Relationship Id="rId2" Type="http://schemas.openxmlformats.org/officeDocument/2006/relationships/tags" Target="../tags/tag471.xml"/><Relationship Id="rId1" Type="http://schemas.openxmlformats.org/officeDocument/2006/relationships/vmlDrawing" Target="../drawings/vmlDrawing68.vml"/><Relationship Id="rId6" Type="http://schemas.openxmlformats.org/officeDocument/2006/relationships/tags" Target="../tags/tag475.xml"/><Relationship Id="rId11" Type="http://schemas.openxmlformats.org/officeDocument/2006/relationships/image" Target="../media/image1.emf"/><Relationship Id="rId5" Type="http://schemas.openxmlformats.org/officeDocument/2006/relationships/tags" Target="../tags/tag474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473.xml"/><Relationship Id="rId9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479.xml"/><Relationship Id="rId7" Type="http://schemas.openxmlformats.org/officeDocument/2006/relationships/image" Target="../media/image7.wmf"/><Relationship Id="rId2" Type="http://schemas.openxmlformats.org/officeDocument/2006/relationships/tags" Target="../tags/tag478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486.xml"/><Relationship Id="rId13" Type="http://schemas.openxmlformats.org/officeDocument/2006/relationships/image" Target="../media/image7.wmf"/><Relationship Id="rId3" Type="http://schemas.openxmlformats.org/officeDocument/2006/relationships/tags" Target="../tags/tag481.xml"/><Relationship Id="rId7" Type="http://schemas.openxmlformats.org/officeDocument/2006/relationships/tags" Target="../tags/tag485.xml"/><Relationship Id="rId12" Type="http://schemas.openxmlformats.org/officeDocument/2006/relationships/image" Target="../media/image8.emf"/><Relationship Id="rId2" Type="http://schemas.openxmlformats.org/officeDocument/2006/relationships/tags" Target="../tags/tag480.xml"/><Relationship Id="rId1" Type="http://schemas.openxmlformats.org/officeDocument/2006/relationships/vmlDrawing" Target="../drawings/vmlDrawing70.vml"/><Relationship Id="rId6" Type="http://schemas.openxmlformats.org/officeDocument/2006/relationships/tags" Target="../tags/tag484.xml"/><Relationship Id="rId11" Type="http://schemas.openxmlformats.org/officeDocument/2006/relationships/oleObject" Target="../embeddings/oleObject70.bin"/><Relationship Id="rId5" Type="http://schemas.openxmlformats.org/officeDocument/2006/relationships/tags" Target="../tags/tag48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482.xml"/><Relationship Id="rId9" Type="http://schemas.openxmlformats.org/officeDocument/2006/relationships/tags" Target="../tags/tag48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494.xml"/><Relationship Id="rId3" Type="http://schemas.openxmlformats.org/officeDocument/2006/relationships/tags" Target="../tags/tag489.xml"/><Relationship Id="rId7" Type="http://schemas.openxmlformats.org/officeDocument/2006/relationships/tags" Target="../tags/tag493.xml"/><Relationship Id="rId2" Type="http://schemas.openxmlformats.org/officeDocument/2006/relationships/tags" Target="../tags/tag488.xml"/><Relationship Id="rId1" Type="http://schemas.openxmlformats.org/officeDocument/2006/relationships/vmlDrawing" Target="../drawings/vmlDrawing71.vml"/><Relationship Id="rId6" Type="http://schemas.openxmlformats.org/officeDocument/2006/relationships/tags" Target="../tags/tag492.xml"/><Relationship Id="rId11" Type="http://schemas.openxmlformats.org/officeDocument/2006/relationships/image" Target="../media/image1.emf"/><Relationship Id="rId5" Type="http://schemas.openxmlformats.org/officeDocument/2006/relationships/tags" Target="../tags/tag491.xml"/><Relationship Id="rId10" Type="http://schemas.openxmlformats.org/officeDocument/2006/relationships/oleObject" Target="../embeddings/oleObject71.bin"/><Relationship Id="rId4" Type="http://schemas.openxmlformats.org/officeDocument/2006/relationships/tags" Target="../tags/tag490.xml"/><Relationship Id="rId9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496.xml"/><Relationship Id="rId7" Type="http://schemas.openxmlformats.org/officeDocument/2006/relationships/tags" Target="../tags/tag500.xml"/><Relationship Id="rId2" Type="http://schemas.openxmlformats.org/officeDocument/2006/relationships/tags" Target="../tags/tag495.xml"/><Relationship Id="rId1" Type="http://schemas.openxmlformats.org/officeDocument/2006/relationships/vmlDrawing" Target="../drawings/vmlDrawing72.vml"/><Relationship Id="rId6" Type="http://schemas.openxmlformats.org/officeDocument/2006/relationships/tags" Target="../tags/tag499.xml"/><Relationship Id="rId5" Type="http://schemas.openxmlformats.org/officeDocument/2006/relationships/tags" Target="../tags/tag498.xml"/><Relationship Id="rId10" Type="http://schemas.openxmlformats.org/officeDocument/2006/relationships/image" Target="../media/image1.emf"/><Relationship Id="rId4" Type="http://schemas.openxmlformats.org/officeDocument/2006/relationships/tags" Target="../tags/tag497.xml"/><Relationship Id="rId9" Type="http://schemas.openxmlformats.org/officeDocument/2006/relationships/oleObject" Target="../embeddings/oleObject72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10" Type="http://schemas.openxmlformats.org/officeDocument/2006/relationships/image" Target="../media/image3.emf"/><Relationship Id="rId4" Type="http://schemas.openxmlformats.org/officeDocument/2006/relationships/tags" Target="../tags/tag23.xml"/><Relationship Id="rId9" Type="http://schemas.openxmlformats.org/officeDocument/2006/relationships/oleObject" Target="../embeddings/oleObject2.bin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3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5.jpeg"/><Relationship Id="rId4" Type="http://schemas.openxmlformats.org/officeDocument/2006/relationships/tags" Target="../tags/tag28.xml"/><Relationship Id="rId9" Type="http://schemas.openxmlformats.org/officeDocument/2006/relationships/image" Target="../media/image3.emf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52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521.xml"/><Relationship Id="rId1" Type="http://schemas.openxmlformats.org/officeDocument/2006/relationships/vmlDrawing" Target="../drawings/vmlDrawing74.vml"/><Relationship Id="rId6" Type="http://schemas.openxmlformats.org/officeDocument/2006/relationships/tags" Target="../tags/tag525.xml"/><Relationship Id="rId5" Type="http://schemas.openxmlformats.org/officeDocument/2006/relationships/tags" Target="../tags/tag524.xml"/><Relationship Id="rId10" Type="http://schemas.openxmlformats.org/officeDocument/2006/relationships/image" Target="../media/image3.emf"/><Relationship Id="rId4" Type="http://schemas.openxmlformats.org/officeDocument/2006/relationships/tags" Target="../tags/tag523.xml"/><Relationship Id="rId9" Type="http://schemas.openxmlformats.org/officeDocument/2006/relationships/oleObject" Target="../embeddings/oleObject74.bin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52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526.xml"/><Relationship Id="rId1" Type="http://schemas.openxmlformats.org/officeDocument/2006/relationships/vmlDrawing" Target="../drawings/vmlDrawing75.vml"/><Relationship Id="rId6" Type="http://schemas.openxmlformats.org/officeDocument/2006/relationships/tags" Target="../tags/tag530.xml"/><Relationship Id="rId5" Type="http://schemas.openxmlformats.org/officeDocument/2006/relationships/tags" Target="../tags/tag529.xml"/><Relationship Id="rId10" Type="http://schemas.openxmlformats.org/officeDocument/2006/relationships/image" Target="../media/image5.jpeg"/><Relationship Id="rId4" Type="http://schemas.openxmlformats.org/officeDocument/2006/relationships/tags" Target="../tags/tag528.xml"/><Relationship Id="rId9" Type="http://schemas.openxmlformats.org/officeDocument/2006/relationships/image" Target="../media/image3.emf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532.xml"/><Relationship Id="rId7" Type="http://schemas.openxmlformats.org/officeDocument/2006/relationships/tags" Target="../tags/tag536.xml"/><Relationship Id="rId2" Type="http://schemas.openxmlformats.org/officeDocument/2006/relationships/tags" Target="../tags/tag531.xml"/><Relationship Id="rId1" Type="http://schemas.openxmlformats.org/officeDocument/2006/relationships/vmlDrawing" Target="../drawings/vmlDrawing76.vml"/><Relationship Id="rId6" Type="http://schemas.openxmlformats.org/officeDocument/2006/relationships/tags" Target="../tags/tag535.xml"/><Relationship Id="rId5" Type="http://schemas.openxmlformats.org/officeDocument/2006/relationships/tags" Target="../tags/tag534.xml"/><Relationship Id="rId10" Type="http://schemas.openxmlformats.org/officeDocument/2006/relationships/image" Target="../media/image1.emf"/><Relationship Id="rId4" Type="http://schemas.openxmlformats.org/officeDocument/2006/relationships/tags" Target="../tags/tag533.xml"/><Relationship Id="rId9" Type="http://schemas.openxmlformats.org/officeDocument/2006/relationships/oleObject" Target="../embeddings/oleObject76.bin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538.xml"/><Relationship Id="rId7" Type="http://schemas.openxmlformats.org/officeDocument/2006/relationships/tags" Target="../tags/tag542.xml"/><Relationship Id="rId2" Type="http://schemas.openxmlformats.org/officeDocument/2006/relationships/tags" Target="../tags/tag537.xml"/><Relationship Id="rId1" Type="http://schemas.openxmlformats.org/officeDocument/2006/relationships/vmlDrawing" Target="../drawings/vmlDrawing77.vml"/><Relationship Id="rId6" Type="http://schemas.openxmlformats.org/officeDocument/2006/relationships/tags" Target="../tags/tag541.xml"/><Relationship Id="rId5" Type="http://schemas.openxmlformats.org/officeDocument/2006/relationships/tags" Target="../tags/tag540.xml"/><Relationship Id="rId10" Type="http://schemas.openxmlformats.org/officeDocument/2006/relationships/image" Target="../media/image3.emf"/><Relationship Id="rId4" Type="http://schemas.openxmlformats.org/officeDocument/2006/relationships/tags" Target="../tags/tag539.xml"/><Relationship Id="rId9" Type="http://schemas.openxmlformats.org/officeDocument/2006/relationships/oleObject" Target="../embeddings/oleObject77.bin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544.xml"/><Relationship Id="rId7" Type="http://schemas.openxmlformats.org/officeDocument/2006/relationships/tags" Target="../tags/tag548.xml"/><Relationship Id="rId2" Type="http://schemas.openxmlformats.org/officeDocument/2006/relationships/tags" Target="../tags/tag543.xml"/><Relationship Id="rId1" Type="http://schemas.openxmlformats.org/officeDocument/2006/relationships/vmlDrawing" Target="../drawings/vmlDrawing78.vml"/><Relationship Id="rId6" Type="http://schemas.openxmlformats.org/officeDocument/2006/relationships/tags" Target="../tags/tag547.xml"/><Relationship Id="rId5" Type="http://schemas.openxmlformats.org/officeDocument/2006/relationships/tags" Target="../tags/tag546.xml"/><Relationship Id="rId10" Type="http://schemas.openxmlformats.org/officeDocument/2006/relationships/image" Target="../media/image3.emf"/><Relationship Id="rId4" Type="http://schemas.openxmlformats.org/officeDocument/2006/relationships/tags" Target="../tags/tag545.xml"/><Relationship Id="rId9" Type="http://schemas.openxmlformats.org/officeDocument/2006/relationships/oleObject" Target="../embeddings/oleObject78.bin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2" Type="http://schemas.openxmlformats.org/officeDocument/2006/relationships/tags" Target="../tags/tag549.xml"/><Relationship Id="rId1" Type="http://schemas.openxmlformats.org/officeDocument/2006/relationships/vmlDrawing" Target="../drawings/vmlDrawing79.vml"/><Relationship Id="rId6" Type="http://schemas.openxmlformats.org/officeDocument/2006/relationships/tags" Target="../tags/tag553.xml"/><Relationship Id="rId5" Type="http://schemas.openxmlformats.org/officeDocument/2006/relationships/tags" Target="../tags/tag552.xml"/><Relationship Id="rId10" Type="http://schemas.openxmlformats.org/officeDocument/2006/relationships/image" Target="../media/image3.emf"/><Relationship Id="rId4" Type="http://schemas.openxmlformats.org/officeDocument/2006/relationships/tags" Target="../tags/tag551.xml"/><Relationship Id="rId9" Type="http://schemas.openxmlformats.org/officeDocument/2006/relationships/oleObject" Target="../embeddings/oleObject79.bin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tags" Target="../tags/tag561.xml"/><Relationship Id="rId3" Type="http://schemas.openxmlformats.org/officeDocument/2006/relationships/tags" Target="../tags/tag556.xml"/><Relationship Id="rId7" Type="http://schemas.openxmlformats.org/officeDocument/2006/relationships/tags" Target="../tags/tag560.xml"/><Relationship Id="rId2" Type="http://schemas.openxmlformats.org/officeDocument/2006/relationships/tags" Target="../tags/tag555.xml"/><Relationship Id="rId1" Type="http://schemas.openxmlformats.org/officeDocument/2006/relationships/vmlDrawing" Target="../drawings/vmlDrawing80.vml"/><Relationship Id="rId6" Type="http://schemas.openxmlformats.org/officeDocument/2006/relationships/tags" Target="../tags/tag559.xml"/><Relationship Id="rId11" Type="http://schemas.openxmlformats.org/officeDocument/2006/relationships/image" Target="../media/image3.emf"/><Relationship Id="rId5" Type="http://schemas.openxmlformats.org/officeDocument/2006/relationships/tags" Target="../tags/tag558.xml"/><Relationship Id="rId10" Type="http://schemas.openxmlformats.org/officeDocument/2006/relationships/oleObject" Target="../embeddings/oleObject80.bin"/><Relationship Id="rId4" Type="http://schemas.openxmlformats.org/officeDocument/2006/relationships/tags" Target="../tags/tag557.xml"/><Relationship Id="rId9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tags" Target="../tags/tag568.xml"/><Relationship Id="rId3" Type="http://schemas.openxmlformats.org/officeDocument/2006/relationships/tags" Target="../tags/tag563.xml"/><Relationship Id="rId7" Type="http://schemas.openxmlformats.org/officeDocument/2006/relationships/tags" Target="../tags/tag567.xml"/><Relationship Id="rId12" Type="http://schemas.openxmlformats.org/officeDocument/2006/relationships/image" Target="../media/image7.wmf"/><Relationship Id="rId2" Type="http://schemas.openxmlformats.org/officeDocument/2006/relationships/tags" Target="../tags/tag562.xml"/><Relationship Id="rId1" Type="http://schemas.openxmlformats.org/officeDocument/2006/relationships/vmlDrawing" Target="../drawings/vmlDrawing81.vml"/><Relationship Id="rId6" Type="http://schemas.openxmlformats.org/officeDocument/2006/relationships/tags" Target="../tags/tag566.xml"/><Relationship Id="rId11" Type="http://schemas.openxmlformats.org/officeDocument/2006/relationships/image" Target="../media/image1.emf"/><Relationship Id="rId5" Type="http://schemas.openxmlformats.org/officeDocument/2006/relationships/tags" Target="../tags/tag565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564.xml"/><Relationship Id="rId9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tags" Target="../tags/tag575.xml"/><Relationship Id="rId3" Type="http://schemas.openxmlformats.org/officeDocument/2006/relationships/tags" Target="../tags/tag570.xml"/><Relationship Id="rId7" Type="http://schemas.openxmlformats.org/officeDocument/2006/relationships/tags" Target="../tags/tag574.xml"/><Relationship Id="rId12" Type="http://schemas.openxmlformats.org/officeDocument/2006/relationships/image" Target="../media/image7.wmf"/><Relationship Id="rId2" Type="http://schemas.openxmlformats.org/officeDocument/2006/relationships/tags" Target="../tags/tag569.xml"/><Relationship Id="rId1" Type="http://schemas.openxmlformats.org/officeDocument/2006/relationships/vmlDrawing" Target="../drawings/vmlDrawing82.vml"/><Relationship Id="rId6" Type="http://schemas.openxmlformats.org/officeDocument/2006/relationships/tags" Target="../tags/tag573.xml"/><Relationship Id="rId11" Type="http://schemas.openxmlformats.org/officeDocument/2006/relationships/image" Target="../media/image1.emf"/><Relationship Id="rId5" Type="http://schemas.openxmlformats.org/officeDocument/2006/relationships/tags" Target="../tags/tag572.xml"/><Relationship Id="rId10" Type="http://schemas.openxmlformats.org/officeDocument/2006/relationships/oleObject" Target="../embeddings/oleObject82.bin"/><Relationship Id="rId4" Type="http://schemas.openxmlformats.org/officeDocument/2006/relationships/tags" Target="../tags/tag571.xml"/><Relationship Id="rId9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12" Type="http://schemas.openxmlformats.org/officeDocument/2006/relationships/image" Target="../media/image7.wmf"/><Relationship Id="rId2" Type="http://schemas.openxmlformats.org/officeDocument/2006/relationships/tags" Target="../tags/tag576.xml"/><Relationship Id="rId1" Type="http://schemas.openxmlformats.org/officeDocument/2006/relationships/vmlDrawing" Target="../drawings/vmlDrawing83.vml"/><Relationship Id="rId6" Type="http://schemas.openxmlformats.org/officeDocument/2006/relationships/tags" Target="../tags/tag580.xml"/><Relationship Id="rId11" Type="http://schemas.openxmlformats.org/officeDocument/2006/relationships/image" Target="../media/image1.emf"/><Relationship Id="rId5" Type="http://schemas.openxmlformats.org/officeDocument/2006/relationships/tags" Target="../tags/tag579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578.xml"/><Relationship Id="rId9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tags" Target="../tags/tag35.xml"/><Relationship Id="rId11" Type="http://schemas.openxmlformats.org/officeDocument/2006/relationships/image" Target="../media/image6.png"/><Relationship Id="rId5" Type="http://schemas.openxmlformats.org/officeDocument/2006/relationships/tags" Target="../tags/tag34.xml"/><Relationship Id="rId10" Type="http://schemas.openxmlformats.org/officeDocument/2006/relationships/image" Target="../media/image1.emf"/><Relationship Id="rId4" Type="http://schemas.openxmlformats.org/officeDocument/2006/relationships/tags" Target="../tags/tag33.xml"/><Relationship Id="rId9" Type="http://schemas.openxmlformats.org/officeDocument/2006/relationships/oleObject" Target="../embeddings/oleObject4.bin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tags" Target="../tags/tag589.xml"/><Relationship Id="rId3" Type="http://schemas.openxmlformats.org/officeDocument/2006/relationships/tags" Target="../tags/tag584.xml"/><Relationship Id="rId7" Type="http://schemas.openxmlformats.org/officeDocument/2006/relationships/tags" Target="../tags/tag588.xml"/><Relationship Id="rId12" Type="http://schemas.openxmlformats.org/officeDocument/2006/relationships/image" Target="../media/image7.wmf"/><Relationship Id="rId2" Type="http://schemas.openxmlformats.org/officeDocument/2006/relationships/tags" Target="../tags/tag583.xml"/><Relationship Id="rId1" Type="http://schemas.openxmlformats.org/officeDocument/2006/relationships/vmlDrawing" Target="../drawings/vmlDrawing84.vml"/><Relationship Id="rId6" Type="http://schemas.openxmlformats.org/officeDocument/2006/relationships/tags" Target="../tags/tag587.xml"/><Relationship Id="rId11" Type="http://schemas.openxmlformats.org/officeDocument/2006/relationships/image" Target="../media/image8.emf"/><Relationship Id="rId5" Type="http://schemas.openxmlformats.org/officeDocument/2006/relationships/tags" Target="../tags/tag586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585.xml"/><Relationship Id="rId9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tags" Target="../tags/tag596.xml"/><Relationship Id="rId3" Type="http://schemas.openxmlformats.org/officeDocument/2006/relationships/tags" Target="../tags/tag591.xml"/><Relationship Id="rId7" Type="http://schemas.openxmlformats.org/officeDocument/2006/relationships/tags" Target="../tags/tag595.xml"/><Relationship Id="rId12" Type="http://schemas.openxmlformats.org/officeDocument/2006/relationships/image" Target="../media/image7.wmf"/><Relationship Id="rId2" Type="http://schemas.openxmlformats.org/officeDocument/2006/relationships/tags" Target="../tags/tag590.xml"/><Relationship Id="rId1" Type="http://schemas.openxmlformats.org/officeDocument/2006/relationships/vmlDrawing" Target="../drawings/vmlDrawing85.vml"/><Relationship Id="rId6" Type="http://schemas.openxmlformats.org/officeDocument/2006/relationships/tags" Target="../tags/tag594.xml"/><Relationship Id="rId11" Type="http://schemas.openxmlformats.org/officeDocument/2006/relationships/image" Target="../media/image1.emf"/><Relationship Id="rId5" Type="http://schemas.openxmlformats.org/officeDocument/2006/relationships/tags" Target="../tags/tag593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592.xml"/><Relationship Id="rId9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598.xml"/><Relationship Id="rId7" Type="http://schemas.openxmlformats.org/officeDocument/2006/relationships/image" Target="../media/image7.wmf"/><Relationship Id="rId2" Type="http://schemas.openxmlformats.org/officeDocument/2006/relationships/tags" Target="../tags/tag59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tags" Target="../tags/tag605.xml"/><Relationship Id="rId13" Type="http://schemas.openxmlformats.org/officeDocument/2006/relationships/image" Target="../media/image7.wmf"/><Relationship Id="rId3" Type="http://schemas.openxmlformats.org/officeDocument/2006/relationships/tags" Target="../tags/tag600.xml"/><Relationship Id="rId7" Type="http://schemas.openxmlformats.org/officeDocument/2006/relationships/tags" Target="../tags/tag604.xml"/><Relationship Id="rId12" Type="http://schemas.openxmlformats.org/officeDocument/2006/relationships/image" Target="../media/image8.emf"/><Relationship Id="rId2" Type="http://schemas.openxmlformats.org/officeDocument/2006/relationships/tags" Target="../tags/tag599.xml"/><Relationship Id="rId1" Type="http://schemas.openxmlformats.org/officeDocument/2006/relationships/vmlDrawing" Target="../drawings/vmlDrawing87.vml"/><Relationship Id="rId6" Type="http://schemas.openxmlformats.org/officeDocument/2006/relationships/tags" Target="../tags/tag603.xml"/><Relationship Id="rId11" Type="http://schemas.openxmlformats.org/officeDocument/2006/relationships/oleObject" Target="../embeddings/oleObject87.bin"/><Relationship Id="rId5" Type="http://schemas.openxmlformats.org/officeDocument/2006/relationships/tags" Target="../tags/tag602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601.xml"/><Relationship Id="rId9" Type="http://schemas.openxmlformats.org/officeDocument/2006/relationships/tags" Target="../tags/tag606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tags" Target="../tags/tag613.xml"/><Relationship Id="rId3" Type="http://schemas.openxmlformats.org/officeDocument/2006/relationships/tags" Target="../tags/tag608.xml"/><Relationship Id="rId7" Type="http://schemas.openxmlformats.org/officeDocument/2006/relationships/tags" Target="../tags/tag612.xml"/><Relationship Id="rId2" Type="http://schemas.openxmlformats.org/officeDocument/2006/relationships/tags" Target="../tags/tag607.xml"/><Relationship Id="rId1" Type="http://schemas.openxmlformats.org/officeDocument/2006/relationships/vmlDrawing" Target="../drawings/vmlDrawing88.vml"/><Relationship Id="rId6" Type="http://schemas.openxmlformats.org/officeDocument/2006/relationships/tags" Target="../tags/tag611.xml"/><Relationship Id="rId11" Type="http://schemas.openxmlformats.org/officeDocument/2006/relationships/image" Target="../media/image1.emf"/><Relationship Id="rId5" Type="http://schemas.openxmlformats.org/officeDocument/2006/relationships/tags" Target="../tags/tag610.xml"/><Relationship Id="rId10" Type="http://schemas.openxmlformats.org/officeDocument/2006/relationships/oleObject" Target="../embeddings/oleObject88.bin"/><Relationship Id="rId4" Type="http://schemas.openxmlformats.org/officeDocument/2006/relationships/tags" Target="../tags/tag609.xml"/><Relationship Id="rId9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620.xml"/><Relationship Id="rId3" Type="http://schemas.openxmlformats.org/officeDocument/2006/relationships/tags" Target="../tags/tag615.xml"/><Relationship Id="rId7" Type="http://schemas.openxmlformats.org/officeDocument/2006/relationships/tags" Target="../tags/tag619.xml"/><Relationship Id="rId2" Type="http://schemas.openxmlformats.org/officeDocument/2006/relationships/tags" Target="../tags/tag614.xml"/><Relationship Id="rId1" Type="http://schemas.openxmlformats.org/officeDocument/2006/relationships/vmlDrawing" Target="../drawings/vmlDrawing89.vml"/><Relationship Id="rId6" Type="http://schemas.openxmlformats.org/officeDocument/2006/relationships/tags" Target="../tags/tag618.xml"/><Relationship Id="rId11" Type="http://schemas.openxmlformats.org/officeDocument/2006/relationships/image" Target="../media/image1.emf"/><Relationship Id="rId5" Type="http://schemas.openxmlformats.org/officeDocument/2006/relationships/tags" Target="../tags/tag617.xml"/><Relationship Id="rId10" Type="http://schemas.openxmlformats.org/officeDocument/2006/relationships/oleObject" Target="../embeddings/oleObject89.bin"/><Relationship Id="rId4" Type="http://schemas.openxmlformats.org/officeDocument/2006/relationships/tags" Target="../tags/tag616.xml"/><Relationship Id="rId9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0.bin"/><Relationship Id="rId3" Type="http://schemas.openxmlformats.org/officeDocument/2006/relationships/tags" Target="../tags/tag622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621.xml"/><Relationship Id="rId1" Type="http://schemas.openxmlformats.org/officeDocument/2006/relationships/vmlDrawing" Target="../drawings/vmlDrawing90.vml"/><Relationship Id="rId6" Type="http://schemas.openxmlformats.org/officeDocument/2006/relationships/tags" Target="../tags/tag625.xml"/><Relationship Id="rId5" Type="http://schemas.openxmlformats.org/officeDocument/2006/relationships/tags" Target="../tags/tag624.xml"/><Relationship Id="rId4" Type="http://schemas.openxmlformats.org/officeDocument/2006/relationships/tags" Target="../tags/tag623.xml"/><Relationship Id="rId9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5.vml"/><Relationship Id="rId6" Type="http://schemas.openxmlformats.org/officeDocument/2006/relationships/tags" Target="../tags/tag41.xml"/><Relationship Id="rId11" Type="http://schemas.openxmlformats.org/officeDocument/2006/relationships/image" Target="../media/image6.png"/><Relationship Id="rId5" Type="http://schemas.openxmlformats.org/officeDocument/2006/relationships/tags" Target="../tags/tag40.xml"/><Relationship Id="rId10" Type="http://schemas.openxmlformats.org/officeDocument/2006/relationships/image" Target="../media/image3.emf"/><Relationship Id="rId4" Type="http://schemas.openxmlformats.org/officeDocument/2006/relationships/tags" Target="../tags/tag39.xml"/><Relationship Id="rId9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4.xml"/><Relationship Id="rId7" Type="http://schemas.openxmlformats.org/officeDocument/2006/relationships/tags" Target="../tags/tag48.xml"/><Relationship Id="rId2" Type="http://schemas.openxmlformats.org/officeDocument/2006/relationships/tags" Target="../tags/tag43.xml"/><Relationship Id="rId1" Type="http://schemas.openxmlformats.org/officeDocument/2006/relationships/vmlDrawing" Target="../drawings/vmlDrawing6.vml"/><Relationship Id="rId6" Type="http://schemas.openxmlformats.org/officeDocument/2006/relationships/tags" Target="../tags/tag47.xml"/><Relationship Id="rId11" Type="http://schemas.openxmlformats.org/officeDocument/2006/relationships/image" Target="../media/image6.png"/><Relationship Id="rId5" Type="http://schemas.openxmlformats.org/officeDocument/2006/relationships/tags" Target="../tags/tag46.xml"/><Relationship Id="rId10" Type="http://schemas.openxmlformats.org/officeDocument/2006/relationships/image" Target="../media/image3.emf"/><Relationship Id="rId4" Type="http://schemas.openxmlformats.org/officeDocument/2006/relationships/tags" Target="../tags/tag45.xml"/><Relationship Id="rId9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7.vml"/><Relationship Id="rId6" Type="http://schemas.openxmlformats.org/officeDocument/2006/relationships/tags" Target="../tags/tag53.xml"/><Relationship Id="rId11" Type="http://schemas.openxmlformats.org/officeDocument/2006/relationships/image" Target="../media/image6.png"/><Relationship Id="rId5" Type="http://schemas.openxmlformats.org/officeDocument/2006/relationships/tags" Target="../tags/tag52.xml"/><Relationship Id="rId10" Type="http://schemas.openxmlformats.org/officeDocument/2006/relationships/image" Target="../media/image3.emf"/><Relationship Id="rId4" Type="http://schemas.openxmlformats.org/officeDocument/2006/relationships/tags" Target="../tags/tag51.xml"/><Relationship Id="rId9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12" Type="http://schemas.openxmlformats.org/officeDocument/2006/relationships/image" Target="../media/image6.png"/><Relationship Id="rId2" Type="http://schemas.openxmlformats.org/officeDocument/2006/relationships/tags" Target="../tags/tag55.xml"/><Relationship Id="rId1" Type="http://schemas.openxmlformats.org/officeDocument/2006/relationships/vmlDrawing" Target="../drawings/vmlDrawing8.vml"/><Relationship Id="rId6" Type="http://schemas.openxmlformats.org/officeDocument/2006/relationships/tags" Target="../tags/tag59.xml"/><Relationship Id="rId11" Type="http://schemas.openxmlformats.org/officeDocument/2006/relationships/image" Target="../media/image3.emf"/><Relationship Id="rId5" Type="http://schemas.openxmlformats.org/officeDocument/2006/relationships/tags" Target="../tags/tag58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image" Target="../media/image6.png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image" Target="../media/image7.wmf"/><Relationship Id="rId2" Type="http://schemas.openxmlformats.org/officeDocument/2006/relationships/tags" Target="../tags/tag62.xml"/><Relationship Id="rId1" Type="http://schemas.openxmlformats.org/officeDocument/2006/relationships/vmlDrawing" Target="../drawings/vmlDrawing9.vml"/><Relationship Id="rId6" Type="http://schemas.openxmlformats.org/officeDocument/2006/relationships/tags" Target="../tags/tag66.xml"/><Relationship Id="rId11" Type="http://schemas.openxmlformats.org/officeDocument/2006/relationships/image" Target="../media/image1.emf"/><Relationship Id="rId5" Type="http://schemas.openxmlformats.org/officeDocument/2006/relationships/tags" Target="../tags/tag65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4.xml"/><Relationship Id="rId9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image" Target="../media/image6.png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7.wmf"/><Relationship Id="rId2" Type="http://schemas.openxmlformats.org/officeDocument/2006/relationships/tags" Target="../tags/tag69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3.xml"/><Relationship Id="rId11" Type="http://schemas.openxmlformats.org/officeDocument/2006/relationships/image" Target="../media/image1.emf"/><Relationship Id="rId5" Type="http://schemas.openxmlformats.org/officeDocument/2006/relationships/tags" Target="../tags/tag72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1.xml"/><Relationship Id="rId9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7.wmf"/><Relationship Id="rId2" Type="http://schemas.openxmlformats.org/officeDocument/2006/relationships/tags" Target="../tags/tag7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0.xml"/><Relationship Id="rId11" Type="http://schemas.openxmlformats.org/officeDocument/2006/relationships/image" Target="../media/image1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7.wmf"/><Relationship Id="rId2" Type="http://schemas.openxmlformats.org/officeDocument/2006/relationships/tags" Target="../tags/tag8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7.xml"/><Relationship Id="rId11" Type="http://schemas.openxmlformats.org/officeDocument/2006/relationships/image" Target="../media/image8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5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7.wmf"/><Relationship Id="rId2" Type="http://schemas.openxmlformats.org/officeDocument/2006/relationships/tags" Target="../tags/tag9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4.xml"/><Relationship Id="rId11" Type="http://schemas.openxmlformats.org/officeDocument/2006/relationships/image" Target="../media/image1.emf"/><Relationship Id="rId5" Type="http://schemas.openxmlformats.org/officeDocument/2006/relationships/tags" Target="../tags/tag93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7.wmf"/><Relationship Id="rId2" Type="http://schemas.openxmlformats.org/officeDocument/2006/relationships/tags" Target="../tags/tag9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image" Target="../media/image7.wmf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8.emf"/><Relationship Id="rId2" Type="http://schemas.openxmlformats.org/officeDocument/2006/relationships/tags" Target="../tags/tag99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3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0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13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12" Type="http://schemas.openxmlformats.org/officeDocument/2006/relationships/image" Target="../media/image6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1.xml"/><Relationship Id="rId11" Type="http://schemas.openxmlformats.org/officeDocument/2006/relationships/image" Target="../media/image1.emf"/><Relationship Id="rId5" Type="http://schemas.openxmlformats.org/officeDocument/2006/relationships/tags" Target="../tags/tag110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09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12" Type="http://schemas.openxmlformats.org/officeDocument/2006/relationships/image" Target="../media/image6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8.xml"/><Relationship Id="rId11" Type="http://schemas.openxmlformats.org/officeDocument/2006/relationships/image" Target="../media/image1.emf"/><Relationship Id="rId5" Type="http://schemas.openxmlformats.org/officeDocument/2006/relationships/tags" Target="../tags/tag117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16.xml"/><Relationship Id="rId9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2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5.xml"/><Relationship Id="rId5" Type="http://schemas.openxmlformats.org/officeDocument/2006/relationships/tags" Target="../tags/tag124.xml"/><Relationship Id="rId10" Type="http://schemas.openxmlformats.org/officeDocument/2006/relationships/image" Target="../media/image6.png"/><Relationship Id="rId4" Type="http://schemas.openxmlformats.org/officeDocument/2006/relationships/tags" Target="../tags/tag1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14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10" Type="http://schemas.openxmlformats.org/officeDocument/2006/relationships/image" Target="../media/image3.emf"/><Relationship Id="rId4" Type="http://schemas.openxmlformats.org/officeDocument/2006/relationships/tags" Target="../tags/tag148.xml"/><Relationship Id="rId9" Type="http://schemas.openxmlformats.org/officeDocument/2006/relationships/oleObject" Target="../embeddings/oleObject20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5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5.xml"/><Relationship Id="rId5" Type="http://schemas.openxmlformats.org/officeDocument/2006/relationships/tags" Target="../tags/tag154.xml"/><Relationship Id="rId10" Type="http://schemas.openxmlformats.org/officeDocument/2006/relationships/image" Target="../media/image5.jpeg"/><Relationship Id="rId4" Type="http://schemas.openxmlformats.org/officeDocument/2006/relationships/tags" Target="../tags/tag153.xml"/><Relationship Id="rId9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0.xml"/><Relationship Id="rId11" Type="http://schemas.openxmlformats.org/officeDocument/2006/relationships/image" Target="../media/image6.png"/><Relationship Id="rId5" Type="http://schemas.openxmlformats.org/officeDocument/2006/relationships/tags" Target="../tags/tag159.xml"/><Relationship Id="rId10" Type="http://schemas.openxmlformats.org/officeDocument/2006/relationships/image" Target="../media/image1.emf"/><Relationship Id="rId4" Type="http://schemas.openxmlformats.org/officeDocument/2006/relationships/tags" Target="../tags/tag158.xml"/><Relationship Id="rId9" Type="http://schemas.openxmlformats.org/officeDocument/2006/relationships/oleObject" Target="../embeddings/oleObject22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6.xml"/><Relationship Id="rId11" Type="http://schemas.openxmlformats.org/officeDocument/2006/relationships/image" Target="../media/image9.jpeg"/><Relationship Id="rId5" Type="http://schemas.openxmlformats.org/officeDocument/2006/relationships/tags" Target="../tags/tag165.xml"/><Relationship Id="rId10" Type="http://schemas.openxmlformats.org/officeDocument/2006/relationships/image" Target="../media/image3.emf"/><Relationship Id="rId4" Type="http://schemas.openxmlformats.org/officeDocument/2006/relationships/tags" Target="../tags/tag164.xml"/><Relationship Id="rId9" Type="http://schemas.openxmlformats.org/officeDocument/2006/relationships/oleObject" Target="../embeddings/oleObject23.bin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72.xml"/><Relationship Id="rId11" Type="http://schemas.openxmlformats.org/officeDocument/2006/relationships/image" Target="../media/image9.jpeg"/><Relationship Id="rId5" Type="http://schemas.openxmlformats.org/officeDocument/2006/relationships/tags" Target="../tags/tag171.xml"/><Relationship Id="rId10" Type="http://schemas.openxmlformats.org/officeDocument/2006/relationships/image" Target="../media/image3.emf"/><Relationship Id="rId4" Type="http://schemas.openxmlformats.org/officeDocument/2006/relationships/tags" Target="../tags/tag170.xml"/><Relationship Id="rId9" Type="http://schemas.openxmlformats.org/officeDocument/2006/relationships/oleObject" Target="../embeddings/oleObject24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78.xml"/><Relationship Id="rId11" Type="http://schemas.openxmlformats.org/officeDocument/2006/relationships/image" Target="../media/image9.jpeg"/><Relationship Id="rId5" Type="http://schemas.openxmlformats.org/officeDocument/2006/relationships/tags" Target="../tags/tag177.xml"/><Relationship Id="rId10" Type="http://schemas.openxmlformats.org/officeDocument/2006/relationships/image" Target="../media/image3.emf"/><Relationship Id="rId4" Type="http://schemas.openxmlformats.org/officeDocument/2006/relationships/tags" Target="../tags/tag176.xml"/><Relationship Id="rId9" Type="http://schemas.openxmlformats.org/officeDocument/2006/relationships/oleObject" Target="../embeddings/oleObject25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86.xml"/><Relationship Id="rId3" Type="http://schemas.openxmlformats.org/officeDocument/2006/relationships/tags" Target="../tags/tag181.xml"/><Relationship Id="rId7" Type="http://schemas.openxmlformats.org/officeDocument/2006/relationships/tags" Target="../tags/tag185.xml"/><Relationship Id="rId12" Type="http://schemas.openxmlformats.org/officeDocument/2006/relationships/image" Target="../media/image9.jpeg"/><Relationship Id="rId2" Type="http://schemas.openxmlformats.org/officeDocument/2006/relationships/tags" Target="../tags/tag180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84.xml"/><Relationship Id="rId11" Type="http://schemas.openxmlformats.org/officeDocument/2006/relationships/image" Target="../media/image3.emf"/><Relationship Id="rId5" Type="http://schemas.openxmlformats.org/officeDocument/2006/relationships/tags" Target="../tags/tag183.xml"/><Relationship Id="rId10" Type="http://schemas.openxmlformats.org/officeDocument/2006/relationships/oleObject" Target="../embeddings/oleObject26.bin"/><Relationship Id="rId4" Type="http://schemas.openxmlformats.org/officeDocument/2006/relationships/tags" Target="../tags/tag182.xml"/><Relationship Id="rId9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193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12" Type="http://schemas.openxmlformats.org/officeDocument/2006/relationships/image" Target="../media/image7.wmf"/><Relationship Id="rId2" Type="http://schemas.openxmlformats.org/officeDocument/2006/relationships/tags" Target="../tags/tag187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91.xml"/><Relationship Id="rId11" Type="http://schemas.openxmlformats.org/officeDocument/2006/relationships/image" Target="../media/image1.emf"/><Relationship Id="rId5" Type="http://schemas.openxmlformats.org/officeDocument/2006/relationships/tags" Target="../tags/tag190.xml"/><Relationship Id="rId10" Type="http://schemas.openxmlformats.org/officeDocument/2006/relationships/oleObject" Target="../embeddings/oleObject27.bin"/><Relationship Id="rId4" Type="http://schemas.openxmlformats.org/officeDocument/2006/relationships/tags" Target="../tags/tag189.xml"/><Relationship Id="rId9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7.wmf"/><Relationship Id="rId2" Type="http://schemas.openxmlformats.org/officeDocument/2006/relationships/tags" Target="../tags/tag194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98.xml"/><Relationship Id="rId11" Type="http://schemas.openxmlformats.org/officeDocument/2006/relationships/image" Target="../media/image1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28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12" Type="http://schemas.openxmlformats.org/officeDocument/2006/relationships/image" Target="../media/image7.wmf"/><Relationship Id="rId2" Type="http://schemas.openxmlformats.org/officeDocument/2006/relationships/tags" Target="../tags/tag201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05.xml"/><Relationship Id="rId11" Type="http://schemas.openxmlformats.org/officeDocument/2006/relationships/image" Target="../media/image1.emf"/><Relationship Id="rId5" Type="http://schemas.openxmlformats.org/officeDocument/2006/relationships/tags" Target="../tags/tag204.xml"/><Relationship Id="rId10" Type="http://schemas.openxmlformats.org/officeDocument/2006/relationships/oleObject" Target="../embeddings/oleObject29.bin"/><Relationship Id="rId4" Type="http://schemas.openxmlformats.org/officeDocument/2006/relationships/tags" Target="../tags/tag203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7.wmf"/><Relationship Id="rId2" Type="http://schemas.openxmlformats.org/officeDocument/2006/relationships/tags" Target="../tags/tag208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12.xml"/><Relationship Id="rId11" Type="http://schemas.openxmlformats.org/officeDocument/2006/relationships/image" Target="../media/image8.emf"/><Relationship Id="rId5" Type="http://schemas.openxmlformats.org/officeDocument/2006/relationships/tags" Target="../tags/tag211.xml"/><Relationship Id="rId10" Type="http://schemas.openxmlformats.org/officeDocument/2006/relationships/oleObject" Target="../embeddings/oleObject30.bin"/><Relationship Id="rId4" Type="http://schemas.openxmlformats.org/officeDocument/2006/relationships/tags" Target="../tags/tag210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221.xml"/><Relationship Id="rId3" Type="http://schemas.openxmlformats.org/officeDocument/2006/relationships/tags" Target="../tags/tag216.xml"/><Relationship Id="rId7" Type="http://schemas.openxmlformats.org/officeDocument/2006/relationships/tags" Target="../tags/tag220.xml"/><Relationship Id="rId12" Type="http://schemas.openxmlformats.org/officeDocument/2006/relationships/image" Target="../media/image7.wmf"/><Relationship Id="rId2" Type="http://schemas.openxmlformats.org/officeDocument/2006/relationships/tags" Target="../tags/tag215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19.xml"/><Relationship Id="rId11" Type="http://schemas.openxmlformats.org/officeDocument/2006/relationships/image" Target="../media/image1.emf"/><Relationship Id="rId5" Type="http://schemas.openxmlformats.org/officeDocument/2006/relationships/tags" Target="../tags/tag218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17.xml"/><Relationship Id="rId9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7" Type="http://schemas.openxmlformats.org/officeDocument/2006/relationships/image" Target="../media/image7.wmf"/><Relationship Id="rId2" Type="http://schemas.openxmlformats.org/officeDocument/2006/relationships/tags" Target="../tags/tag22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13" Type="http://schemas.openxmlformats.org/officeDocument/2006/relationships/image" Target="../media/image7.wmf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8.emf"/><Relationship Id="rId2" Type="http://schemas.openxmlformats.org/officeDocument/2006/relationships/tags" Target="../tags/tag224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28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22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36.xml"/><Relationship Id="rId11" Type="http://schemas.openxmlformats.org/officeDocument/2006/relationships/image" Target="../media/image1.emf"/><Relationship Id="rId5" Type="http://schemas.openxmlformats.org/officeDocument/2006/relationships/tags" Target="../tags/tag235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34.xml"/><Relationship Id="rId9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45.xml"/><Relationship Id="rId3" Type="http://schemas.openxmlformats.org/officeDocument/2006/relationships/tags" Target="../tags/tag240.xml"/><Relationship Id="rId7" Type="http://schemas.openxmlformats.org/officeDocument/2006/relationships/tags" Target="../tags/tag244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43.xml"/><Relationship Id="rId11" Type="http://schemas.openxmlformats.org/officeDocument/2006/relationships/image" Target="../media/image1.emf"/><Relationship Id="rId5" Type="http://schemas.openxmlformats.org/officeDocument/2006/relationships/tags" Target="../tags/tag242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41.xml"/><Relationship Id="rId9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4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50.xml"/><Relationship Id="rId5" Type="http://schemas.openxmlformats.org/officeDocument/2006/relationships/tags" Target="../tags/tag249.xml"/><Relationship Id="rId4" Type="http://schemas.openxmlformats.org/officeDocument/2006/relationships/tags" Target="../tags/tag248.xml"/><Relationship Id="rId9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55.xml"/><Relationship Id="rId5" Type="http://schemas.openxmlformats.org/officeDocument/2006/relationships/tags" Target="../tags/tag254.xml"/><Relationship Id="rId10" Type="http://schemas.openxmlformats.org/officeDocument/2006/relationships/image" Target="../media/image1.emf"/><Relationship Id="rId4" Type="http://schemas.openxmlformats.org/officeDocument/2006/relationships/tags" Target="../tags/tag253.xml"/><Relationship Id="rId9" Type="http://schemas.openxmlformats.org/officeDocument/2006/relationships/oleObject" Target="../embeddings/oleObject37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27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77.xml"/><Relationship Id="rId1" Type="http://schemas.openxmlformats.org/officeDocument/2006/relationships/vmlDrawing" Target="../drawings/vmlDrawing39.vml"/><Relationship Id="rId6" Type="http://schemas.openxmlformats.org/officeDocument/2006/relationships/tags" Target="../tags/tag281.xml"/><Relationship Id="rId5" Type="http://schemas.openxmlformats.org/officeDocument/2006/relationships/tags" Target="../tags/tag280.xml"/><Relationship Id="rId10" Type="http://schemas.openxmlformats.org/officeDocument/2006/relationships/image" Target="../media/image3.emf"/><Relationship Id="rId4" Type="http://schemas.openxmlformats.org/officeDocument/2006/relationships/tags" Target="../tags/tag279.xml"/><Relationship Id="rId9" Type="http://schemas.openxmlformats.org/officeDocument/2006/relationships/oleObject" Target="../embeddings/oleObject39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28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82.xml"/><Relationship Id="rId1" Type="http://schemas.openxmlformats.org/officeDocument/2006/relationships/vmlDrawing" Target="../drawings/vmlDrawing40.vml"/><Relationship Id="rId6" Type="http://schemas.openxmlformats.org/officeDocument/2006/relationships/tags" Target="../tags/tag286.xml"/><Relationship Id="rId5" Type="http://schemas.openxmlformats.org/officeDocument/2006/relationships/tags" Target="../tags/tag285.xml"/><Relationship Id="rId10" Type="http://schemas.openxmlformats.org/officeDocument/2006/relationships/image" Target="../media/image5.jpeg"/><Relationship Id="rId4" Type="http://schemas.openxmlformats.org/officeDocument/2006/relationships/tags" Target="../tags/tag284.xml"/><Relationship Id="rId9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88.xml"/><Relationship Id="rId7" Type="http://schemas.openxmlformats.org/officeDocument/2006/relationships/tags" Target="../tags/tag292.xml"/><Relationship Id="rId2" Type="http://schemas.openxmlformats.org/officeDocument/2006/relationships/tags" Target="../tags/tag287.xml"/><Relationship Id="rId1" Type="http://schemas.openxmlformats.org/officeDocument/2006/relationships/vmlDrawing" Target="../drawings/vmlDrawing41.vml"/><Relationship Id="rId6" Type="http://schemas.openxmlformats.org/officeDocument/2006/relationships/tags" Target="../tags/tag291.xml"/><Relationship Id="rId5" Type="http://schemas.openxmlformats.org/officeDocument/2006/relationships/tags" Target="../tags/tag290.xml"/><Relationship Id="rId10" Type="http://schemas.openxmlformats.org/officeDocument/2006/relationships/image" Target="../media/image1.emf"/><Relationship Id="rId4" Type="http://schemas.openxmlformats.org/officeDocument/2006/relationships/tags" Target="../tags/tag289.xml"/><Relationship Id="rId9" Type="http://schemas.openxmlformats.org/officeDocument/2006/relationships/oleObject" Target="../embeddings/oleObject41.bin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294.xml"/><Relationship Id="rId7" Type="http://schemas.openxmlformats.org/officeDocument/2006/relationships/tags" Target="../tags/tag298.xml"/><Relationship Id="rId2" Type="http://schemas.openxmlformats.org/officeDocument/2006/relationships/tags" Target="../tags/tag293.xml"/><Relationship Id="rId1" Type="http://schemas.openxmlformats.org/officeDocument/2006/relationships/vmlDrawing" Target="../drawings/vmlDrawing42.vml"/><Relationship Id="rId6" Type="http://schemas.openxmlformats.org/officeDocument/2006/relationships/tags" Target="../tags/tag297.xml"/><Relationship Id="rId5" Type="http://schemas.openxmlformats.org/officeDocument/2006/relationships/tags" Target="../tags/tag296.xml"/><Relationship Id="rId10" Type="http://schemas.openxmlformats.org/officeDocument/2006/relationships/image" Target="../media/image3.emf"/><Relationship Id="rId4" Type="http://schemas.openxmlformats.org/officeDocument/2006/relationships/tags" Target="../tags/tag295.xml"/><Relationship Id="rId9" Type="http://schemas.openxmlformats.org/officeDocument/2006/relationships/oleObject" Target="../embeddings/oleObject42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10" Type="http://schemas.openxmlformats.org/officeDocument/2006/relationships/image" Target="../media/image3.emf"/><Relationship Id="rId4" Type="http://schemas.openxmlformats.org/officeDocument/2006/relationships/tags" Target="../tags/tag301.xml"/><Relationship Id="rId9" Type="http://schemas.openxmlformats.org/officeDocument/2006/relationships/oleObject" Target="../embeddings/oleObject43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306.xml"/><Relationship Id="rId7" Type="http://schemas.openxmlformats.org/officeDocument/2006/relationships/tags" Target="../tags/tag310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09.xml"/><Relationship Id="rId5" Type="http://schemas.openxmlformats.org/officeDocument/2006/relationships/tags" Target="../tags/tag308.xml"/><Relationship Id="rId10" Type="http://schemas.openxmlformats.org/officeDocument/2006/relationships/image" Target="../media/image3.emf"/><Relationship Id="rId4" Type="http://schemas.openxmlformats.org/officeDocument/2006/relationships/tags" Target="../tags/tag307.xml"/><Relationship Id="rId9" Type="http://schemas.openxmlformats.org/officeDocument/2006/relationships/oleObject" Target="../embeddings/oleObject44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317.xml"/><Relationship Id="rId3" Type="http://schemas.openxmlformats.org/officeDocument/2006/relationships/tags" Target="../tags/tag312.xml"/><Relationship Id="rId7" Type="http://schemas.openxmlformats.org/officeDocument/2006/relationships/tags" Target="../tags/tag316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15.xml"/><Relationship Id="rId11" Type="http://schemas.openxmlformats.org/officeDocument/2006/relationships/image" Target="../media/image3.emf"/><Relationship Id="rId5" Type="http://schemas.openxmlformats.org/officeDocument/2006/relationships/tags" Target="../tags/tag314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13.xml"/><Relationship Id="rId9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324.xml"/><Relationship Id="rId3" Type="http://schemas.openxmlformats.org/officeDocument/2006/relationships/tags" Target="../tags/tag319.xml"/><Relationship Id="rId7" Type="http://schemas.openxmlformats.org/officeDocument/2006/relationships/tags" Target="../tags/tag323.xml"/><Relationship Id="rId12" Type="http://schemas.openxmlformats.org/officeDocument/2006/relationships/image" Target="../media/image7.wmf"/><Relationship Id="rId2" Type="http://schemas.openxmlformats.org/officeDocument/2006/relationships/tags" Target="../tags/tag318.xml"/><Relationship Id="rId1" Type="http://schemas.openxmlformats.org/officeDocument/2006/relationships/vmlDrawing" Target="../drawings/vmlDrawing46.vml"/><Relationship Id="rId6" Type="http://schemas.openxmlformats.org/officeDocument/2006/relationships/tags" Target="../tags/tag322.xml"/><Relationship Id="rId11" Type="http://schemas.openxmlformats.org/officeDocument/2006/relationships/image" Target="../media/image1.emf"/><Relationship Id="rId5" Type="http://schemas.openxmlformats.org/officeDocument/2006/relationships/tags" Target="../tags/tag321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20.xml"/><Relationship Id="rId9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331.xml"/><Relationship Id="rId3" Type="http://schemas.openxmlformats.org/officeDocument/2006/relationships/tags" Target="../tags/tag326.xml"/><Relationship Id="rId7" Type="http://schemas.openxmlformats.org/officeDocument/2006/relationships/tags" Target="../tags/tag330.xml"/><Relationship Id="rId12" Type="http://schemas.openxmlformats.org/officeDocument/2006/relationships/image" Target="../media/image7.wmf"/><Relationship Id="rId2" Type="http://schemas.openxmlformats.org/officeDocument/2006/relationships/tags" Target="../tags/tag325.xml"/><Relationship Id="rId1" Type="http://schemas.openxmlformats.org/officeDocument/2006/relationships/vmlDrawing" Target="../drawings/vmlDrawing47.vml"/><Relationship Id="rId6" Type="http://schemas.openxmlformats.org/officeDocument/2006/relationships/tags" Target="../tags/tag329.xml"/><Relationship Id="rId11" Type="http://schemas.openxmlformats.org/officeDocument/2006/relationships/image" Target="../media/image1.emf"/><Relationship Id="rId5" Type="http://schemas.openxmlformats.org/officeDocument/2006/relationships/tags" Target="../tags/tag328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327.xml"/><Relationship Id="rId9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338.xml"/><Relationship Id="rId3" Type="http://schemas.openxmlformats.org/officeDocument/2006/relationships/tags" Target="../tags/tag333.xml"/><Relationship Id="rId7" Type="http://schemas.openxmlformats.org/officeDocument/2006/relationships/tags" Target="../tags/tag337.xml"/><Relationship Id="rId12" Type="http://schemas.openxmlformats.org/officeDocument/2006/relationships/image" Target="../media/image7.wmf"/><Relationship Id="rId2" Type="http://schemas.openxmlformats.org/officeDocument/2006/relationships/tags" Target="../tags/tag332.xml"/><Relationship Id="rId1" Type="http://schemas.openxmlformats.org/officeDocument/2006/relationships/vmlDrawing" Target="../drawings/vmlDrawing48.vml"/><Relationship Id="rId6" Type="http://schemas.openxmlformats.org/officeDocument/2006/relationships/tags" Target="../tags/tag336.xml"/><Relationship Id="rId11" Type="http://schemas.openxmlformats.org/officeDocument/2006/relationships/image" Target="../media/image1.emf"/><Relationship Id="rId5" Type="http://schemas.openxmlformats.org/officeDocument/2006/relationships/tags" Target="../tags/tag335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334.xml"/><Relationship Id="rId9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345.xml"/><Relationship Id="rId3" Type="http://schemas.openxmlformats.org/officeDocument/2006/relationships/tags" Target="../tags/tag340.xml"/><Relationship Id="rId7" Type="http://schemas.openxmlformats.org/officeDocument/2006/relationships/tags" Target="../tags/tag344.xml"/><Relationship Id="rId12" Type="http://schemas.openxmlformats.org/officeDocument/2006/relationships/image" Target="../media/image7.wmf"/><Relationship Id="rId2" Type="http://schemas.openxmlformats.org/officeDocument/2006/relationships/tags" Target="../tags/tag339.xml"/><Relationship Id="rId1" Type="http://schemas.openxmlformats.org/officeDocument/2006/relationships/vmlDrawing" Target="../drawings/vmlDrawing49.vml"/><Relationship Id="rId6" Type="http://schemas.openxmlformats.org/officeDocument/2006/relationships/tags" Target="../tags/tag343.xml"/><Relationship Id="rId11" Type="http://schemas.openxmlformats.org/officeDocument/2006/relationships/image" Target="../media/image8.emf"/><Relationship Id="rId5" Type="http://schemas.openxmlformats.org/officeDocument/2006/relationships/tags" Target="../tags/tag342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41.xml"/><Relationship Id="rId9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352.xml"/><Relationship Id="rId3" Type="http://schemas.openxmlformats.org/officeDocument/2006/relationships/tags" Target="../tags/tag347.xml"/><Relationship Id="rId7" Type="http://schemas.openxmlformats.org/officeDocument/2006/relationships/tags" Target="../tags/tag351.xml"/><Relationship Id="rId12" Type="http://schemas.openxmlformats.org/officeDocument/2006/relationships/image" Target="../media/image7.wmf"/><Relationship Id="rId2" Type="http://schemas.openxmlformats.org/officeDocument/2006/relationships/tags" Target="../tags/tag346.xml"/><Relationship Id="rId1" Type="http://schemas.openxmlformats.org/officeDocument/2006/relationships/vmlDrawing" Target="../drawings/vmlDrawing50.vml"/><Relationship Id="rId6" Type="http://schemas.openxmlformats.org/officeDocument/2006/relationships/tags" Target="../tags/tag350.xml"/><Relationship Id="rId11" Type="http://schemas.openxmlformats.org/officeDocument/2006/relationships/image" Target="../media/image1.emf"/><Relationship Id="rId5" Type="http://schemas.openxmlformats.org/officeDocument/2006/relationships/tags" Target="../tags/tag349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348.xml"/><Relationship Id="rId9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7" Type="http://schemas.openxmlformats.org/officeDocument/2006/relationships/image" Target="../media/image7.wmf"/><Relationship Id="rId2" Type="http://schemas.openxmlformats.org/officeDocument/2006/relationships/tags" Target="../tags/tag35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361.xml"/><Relationship Id="rId13" Type="http://schemas.openxmlformats.org/officeDocument/2006/relationships/image" Target="../media/image7.wmf"/><Relationship Id="rId3" Type="http://schemas.openxmlformats.org/officeDocument/2006/relationships/tags" Target="../tags/tag356.xml"/><Relationship Id="rId7" Type="http://schemas.openxmlformats.org/officeDocument/2006/relationships/tags" Target="../tags/tag360.xml"/><Relationship Id="rId12" Type="http://schemas.openxmlformats.org/officeDocument/2006/relationships/image" Target="../media/image8.emf"/><Relationship Id="rId2" Type="http://schemas.openxmlformats.org/officeDocument/2006/relationships/tags" Target="../tags/tag355.xml"/><Relationship Id="rId1" Type="http://schemas.openxmlformats.org/officeDocument/2006/relationships/vmlDrawing" Target="../drawings/vmlDrawing52.vml"/><Relationship Id="rId6" Type="http://schemas.openxmlformats.org/officeDocument/2006/relationships/tags" Target="../tags/tag359.xml"/><Relationship Id="rId11" Type="http://schemas.openxmlformats.org/officeDocument/2006/relationships/oleObject" Target="../embeddings/oleObject52.bin"/><Relationship Id="rId5" Type="http://schemas.openxmlformats.org/officeDocument/2006/relationships/tags" Target="../tags/tag35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357.xml"/><Relationship Id="rId9" Type="http://schemas.openxmlformats.org/officeDocument/2006/relationships/tags" Target="../tags/tag362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369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2" Type="http://schemas.openxmlformats.org/officeDocument/2006/relationships/tags" Target="../tags/tag363.xml"/><Relationship Id="rId1" Type="http://schemas.openxmlformats.org/officeDocument/2006/relationships/vmlDrawing" Target="../drawings/vmlDrawing53.vml"/><Relationship Id="rId6" Type="http://schemas.openxmlformats.org/officeDocument/2006/relationships/tags" Target="../tags/tag367.xml"/><Relationship Id="rId11" Type="http://schemas.openxmlformats.org/officeDocument/2006/relationships/image" Target="../media/image1.emf"/><Relationship Id="rId5" Type="http://schemas.openxmlformats.org/officeDocument/2006/relationships/tags" Target="../tags/tag366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365.xml"/><Relationship Id="rId9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76.xml"/><Relationship Id="rId3" Type="http://schemas.openxmlformats.org/officeDocument/2006/relationships/tags" Target="../tags/tag371.xml"/><Relationship Id="rId7" Type="http://schemas.openxmlformats.org/officeDocument/2006/relationships/tags" Target="../tags/tag375.xml"/><Relationship Id="rId2" Type="http://schemas.openxmlformats.org/officeDocument/2006/relationships/tags" Target="../tags/tag370.xml"/><Relationship Id="rId1" Type="http://schemas.openxmlformats.org/officeDocument/2006/relationships/vmlDrawing" Target="../drawings/vmlDrawing54.vml"/><Relationship Id="rId6" Type="http://schemas.openxmlformats.org/officeDocument/2006/relationships/tags" Target="../tags/tag374.xml"/><Relationship Id="rId11" Type="http://schemas.openxmlformats.org/officeDocument/2006/relationships/image" Target="../media/image1.emf"/><Relationship Id="rId5" Type="http://schemas.openxmlformats.org/officeDocument/2006/relationships/tags" Target="../tags/tag373.xml"/><Relationship Id="rId10" Type="http://schemas.openxmlformats.org/officeDocument/2006/relationships/oleObject" Target="../embeddings/oleObject54.bin"/><Relationship Id="rId4" Type="http://schemas.openxmlformats.org/officeDocument/2006/relationships/tags" Target="../tags/tag372.xml"/><Relationship Id="rId9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3" Type="http://schemas.openxmlformats.org/officeDocument/2006/relationships/tags" Target="../tags/tag37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77.xml"/><Relationship Id="rId1" Type="http://schemas.openxmlformats.org/officeDocument/2006/relationships/vmlDrawing" Target="../drawings/vmlDrawing55.vml"/><Relationship Id="rId6" Type="http://schemas.openxmlformats.org/officeDocument/2006/relationships/tags" Target="../tags/tag381.xml"/><Relationship Id="rId5" Type="http://schemas.openxmlformats.org/officeDocument/2006/relationships/tags" Target="../tags/tag380.xml"/><Relationship Id="rId4" Type="http://schemas.openxmlformats.org/officeDocument/2006/relationships/tags" Target="../tags/tag379.xml"/><Relationship Id="rId9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03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02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06.xml"/><Relationship Id="rId5" Type="http://schemas.openxmlformats.org/officeDocument/2006/relationships/tags" Target="../tags/tag405.xml"/><Relationship Id="rId10" Type="http://schemas.openxmlformats.org/officeDocument/2006/relationships/image" Target="../media/image3.emf"/><Relationship Id="rId4" Type="http://schemas.openxmlformats.org/officeDocument/2006/relationships/tags" Target="../tags/tag404.xml"/><Relationship Id="rId9" Type="http://schemas.openxmlformats.org/officeDocument/2006/relationships/oleObject" Target="../embeddings/oleObject57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.bin"/><Relationship Id="rId3" Type="http://schemas.openxmlformats.org/officeDocument/2006/relationships/tags" Target="../tags/tag408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407.xml"/><Relationship Id="rId1" Type="http://schemas.openxmlformats.org/officeDocument/2006/relationships/vmlDrawing" Target="../drawings/vmlDrawing58.vml"/><Relationship Id="rId6" Type="http://schemas.openxmlformats.org/officeDocument/2006/relationships/tags" Target="../tags/tag411.xml"/><Relationship Id="rId5" Type="http://schemas.openxmlformats.org/officeDocument/2006/relationships/tags" Target="../tags/tag410.xml"/><Relationship Id="rId10" Type="http://schemas.openxmlformats.org/officeDocument/2006/relationships/image" Target="../media/image5.jpeg"/><Relationship Id="rId4" Type="http://schemas.openxmlformats.org/officeDocument/2006/relationships/tags" Target="../tags/tag409.xml"/><Relationship Id="rId9" Type="http://schemas.openxmlformats.org/officeDocument/2006/relationships/image" Target="../media/image3.emf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13.xml"/><Relationship Id="rId7" Type="http://schemas.openxmlformats.org/officeDocument/2006/relationships/tags" Target="../tags/tag417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59.vml"/><Relationship Id="rId6" Type="http://schemas.openxmlformats.org/officeDocument/2006/relationships/tags" Target="../tags/tag416.xml"/><Relationship Id="rId5" Type="http://schemas.openxmlformats.org/officeDocument/2006/relationships/tags" Target="../tags/tag415.xml"/><Relationship Id="rId10" Type="http://schemas.openxmlformats.org/officeDocument/2006/relationships/image" Target="../media/image1.emf"/><Relationship Id="rId4" Type="http://schemas.openxmlformats.org/officeDocument/2006/relationships/tags" Target="../tags/tag414.xml"/><Relationship Id="rId9" Type="http://schemas.openxmlformats.org/officeDocument/2006/relationships/oleObject" Target="../embeddings/oleObject59.bin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60.vml"/><Relationship Id="rId6" Type="http://schemas.openxmlformats.org/officeDocument/2006/relationships/tags" Target="../tags/tag422.xml"/><Relationship Id="rId5" Type="http://schemas.openxmlformats.org/officeDocument/2006/relationships/tags" Target="../tags/tag421.xml"/><Relationship Id="rId10" Type="http://schemas.openxmlformats.org/officeDocument/2006/relationships/image" Target="../media/image3.emf"/><Relationship Id="rId4" Type="http://schemas.openxmlformats.org/officeDocument/2006/relationships/tags" Target="../tags/tag420.xml"/><Relationship Id="rId9" Type="http://schemas.openxmlformats.org/officeDocument/2006/relationships/oleObject" Target="../embeddings/oleObject60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25.xml"/><Relationship Id="rId7" Type="http://schemas.openxmlformats.org/officeDocument/2006/relationships/tags" Target="../tags/tag429.xml"/><Relationship Id="rId2" Type="http://schemas.openxmlformats.org/officeDocument/2006/relationships/tags" Target="../tags/tag424.xml"/><Relationship Id="rId1" Type="http://schemas.openxmlformats.org/officeDocument/2006/relationships/vmlDrawing" Target="../drawings/vmlDrawing61.vml"/><Relationship Id="rId6" Type="http://schemas.openxmlformats.org/officeDocument/2006/relationships/tags" Target="../tags/tag428.xml"/><Relationship Id="rId5" Type="http://schemas.openxmlformats.org/officeDocument/2006/relationships/tags" Target="../tags/tag427.xml"/><Relationship Id="rId10" Type="http://schemas.openxmlformats.org/officeDocument/2006/relationships/image" Target="../media/image3.emf"/><Relationship Id="rId4" Type="http://schemas.openxmlformats.org/officeDocument/2006/relationships/tags" Target="../tags/tag426.xml"/><Relationship Id="rId9" Type="http://schemas.openxmlformats.org/officeDocument/2006/relationships/oleObject" Target="../embeddings/oleObject61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431.xml"/><Relationship Id="rId7" Type="http://schemas.openxmlformats.org/officeDocument/2006/relationships/tags" Target="../tags/tag435.xml"/><Relationship Id="rId2" Type="http://schemas.openxmlformats.org/officeDocument/2006/relationships/tags" Target="../tags/tag430.xml"/><Relationship Id="rId1" Type="http://schemas.openxmlformats.org/officeDocument/2006/relationships/vmlDrawing" Target="../drawings/vmlDrawing62.vml"/><Relationship Id="rId6" Type="http://schemas.openxmlformats.org/officeDocument/2006/relationships/tags" Target="../tags/tag434.xml"/><Relationship Id="rId5" Type="http://schemas.openxmlformats.org/officeDocument/2006/relationships/tags" Target="../tags/tag433.xml"/><Relationship Id="rId10" Type="http://schemas.openxmlformats.org/officeDocument/2006/relationships/image" Target="../media/image3.emf"/><Relationship Id="rId4" Type="http://schemas.openxmlformats.org/officeDocument/2006/relationships/tags" Target="../tags/tag432.xml"/><Relationship Id="rId9" Type="http://schemas.openxmlformats.org/officeDocument/2006/relationships/oleObject" Target="../embeddings/oleObject62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442.xml"/><Relationship Id="rId3" Type="http://schemas.openxmlformats.org/officeDocument/2006/relationships/tags" Target="../tags/tag437.xml"/><Relationship Id="rId7" Type="http://schemas.openxmlformats.org/officeDocument/2006/relationships/tags" Target="../tags/tag441.xml"/><Relationship Id="rId2" Type="http://schemas.openxmlformats.org/officeDocument/2006/relationships/tags" Target="../tags/tag436.xml"/><Relationship Id="rId1" Type="http://schemas.openxmlformats.org/officeDocument/2006/relationships/vmlDrawing" Target="../drawings/vmlDrawing63.vml"/><Relationship Id="rId6" Type="http://schemas.openxmlformats.org/officeDocument/2006/relationships/tags" Target="../tags/tag440.xml"/><Relationship Id="rId11" Type="http://schemas.openxmlformats.org/officeDocument/2006/relationships/image" Target="../media/image3.emf"/><Relationship Id="rId5" Type="http://schemas.openxmlformats.org/officeDocument/2006/relationships/tags" Target="../tags/tag439.xml"/><Relationship Id="rId10" Type="http://schemas.openxmlformats.org/officeDocument/2006/relationships/oleObject" Target="../embeddings/oleObject63.bin"/><Relationship Id="rId4" Type="http://schemas.openxmlformats.org/officeDocument/2006/relationships/tags" Target="../tags/tag438.xml"/><Relationship Id="rId9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449.xml"/><Relationship Id="rId3" Type="http://schemas.openxmlformats.org/officeDocument/2006/relationships/tags" Target="../tags/tag444.xml"/><Relationship Id="rId7" Type="http://schemas.openxmlformats.org/officeDocument/2006/relationships/tags" Target="../tags/tag448.xml"/><Relationship Id="rId12" Type="http://schemas.openxmlformats.org/officeDocument/2006/relationships/image" Target="../media/image7.wmf"/><Relationship Id="rId2" Type="http://schemas.openxmlformats.org/officeDocument/2006/relationships/tags" Target="../tags/tag443.xml"/><Relationship Id="rId1" Type="http://schemas.openxmlformats.org/officeDocument/2006/relationships/vmlDrawing" Target="../drawings/vmlDrawing64.vml"/><Relationship Id="rId6" Type="http://schemas.openxmlformats.org/officeDocument/2006/relationships/tags" Target="../tags/tag447.xml"/><Relationship Id="rId11" Type="http://schemas.openxmlformats.org/officeDocument/2006/relationships/image" Target="../media/image1.emf"/><Relationship Id="rId5" Type="http://schemas.openxmlformats.org/officeDocument/2006/relationships/tags" Target="../tags/tag446.xml"/><Relationship Id="rId10" Type="http://schemas.openxmlformats.org/officeDocument/2006/relationships/oleObject" Target="../embeddings/oleObject64.bin"/><Relationship Id="rId4" Type="http://schemas.openxmlformats.org/officeDocument/2006/relationships/tags" Target="../tags/tag445.xml"/><Relationship Id="rId9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456.xml"/><Relationship Id="rId3" Type="http://schemas.openxmlformats.org/officeDocument/2006/relationships/tags" Target="../tags/tag451.xml"/><Relationship Id="rId7" Type="http://schemas.openxmlformats.org/officeDocument/2006/relationships/tags" Target="../tags/tag455.xml"/><Relationship Id="rId12" Type="http://schemas.openxmlformats.org/officeDocument/2006/relationships/image" Target="../media/image7.wmf"/><Relationship Id="rId2" Type="http://schemas.openxmlformats.org/officeDocument/2006/relationships/tags" Target="../tags/tag450.xml"/><Relationship Id="rId1" Type="http://schemas.openxmlformats.org/officeDocument/2006/relationships/vmlDrawing" Target="../drawings/vmlDrawing65.vml"/><Relationship Id="rId6" Type="http://schemas.openxmlformats.org/officeDocument/2006/relationships/tags" Target="../tags/tag454.xml"/><Relationship Id="rId11" Type="http://schemas.openxmlformats.org/officeDocument/2006/relationships/image" Target="../media/image1.emf"/><Relationship Id="rId5" Type="http://schemas.openxmlformats.org/officeDocument/2006/relationships/tags" Target="../tags/tag453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452.xml"/><Relationship Id="rId9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463.xml"/><Relationship Id="rId3" Type="http://schemas.openxmlformats.org/officeDocument/2006/relationships/tags" Target="../tags/tag458.xml"/><Relationship Id="rId7" Type="http://schemas.openxmlformats.org/officeDocument/2006/relationships/tags" Target="../tags/tag462.xml"/><Relationship Id="rId12" Type="http://schemas.openxmlformats.org/officeDocument/2006/relationships/image" Target="../media/image7.wmf"/><Relationship Id="rId2" Type="http://schemas.openxmlformats.org/officeDocument/2006/relationships/tags" Target="../tags/tag457.xml"/><Relationship Id="rId1" Type="http://schemas.openxmlformats.org/officeDocument/2006/relationships/vmlDrawing" Target="../drawings/vmlDrawing66.vml"/><Relationship Id="rId6" Type="http://schemas.openxmlformats.org/officeDocument/2006/relationships/tags" Target="../tags/tag461.xml"/><Relationship Id="rId11" Type="http://schemas.openxmlformats.org/officeDocument/2006/relationships/image" Target="../media/image1.emf"/><Relationship Id="rId5" Type="http://schemas.openxmlformats.org/officeDocument/2006/relationships/tags" Target="../tags/tag460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459.xml"/><Relationship Id="rId9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470.xml"/><Relationship Id="rId3" Type="http://schemas.openxmlformats.org/officeDocument/2006/relationships/tags" Target="../tags/tag465.xml"/><Relationship Id="rId7" Type="http://schemas.openxmlformats.org/officeDocument/2006/relationships/tags" Target="../tags/tag469.xml"/><Relationship Id="rId12" Type="http://schemas.openxmlformats.org/officeDocument/2006/relationships/image" Target="../media/image7.wmf"/><Relationship Id="rId2" Type="http://schemas.openxmlformats.org/officeDocument/2006/relationships/tags" Target="../tags/tag464.xml"/><Relationship Id="rId1" Type="http://schemas.openxmlformats.org/officeDocument/2006/relationships/vmlDrawing" Target="../drawings/vmlDrawing67.vml"/><Relationship Id="rId6" Type="http://schemas.openxmlformats.org/officeDocument/2006/relationships/tags" Target="../tags/tag468.xml"/><Relationship Id="rId11" Type="http://schemas.openxmlformats.org/officeDocument/2006/relationships/image" Target="../media/image8.emf"/><Relationship Id="rId5" Type="http://schemas.openxmlformats.org/officeDocument/2006/relationships/tags" Target="../tags/tag467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466.xml"/><Relationship Id="rId9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F29904-A0A9-4D32-B0B7-737E042540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6C6D96-1247-473C-ABE5-9A00A1112E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0B8430-375C-417B-9958-047193CFA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957FD0-3A16-4623-9DA7-0EE8567691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2F9508-71D8-4F88-BF63-E17728C86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75436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A251DB-0295-4220-ABB8-B75AC70B42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5BF039-6235-472E-A207-F68297173B7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B36ECC-C9D3-4DE4-961D-89D3BE834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128B66-B8CF-4F4F-B8F0-C694A8EF17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D2D5C5-98B2-436E-8B15-A858225DF1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52566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noProof="0" dirty="0"/>
              <a:t>Source: …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C00F2727-7798-4387-B10A-510A1587B2A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7918704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17" name="図 71" descr="ea60_010_030_dwin.wmf">
            <a:extLst>
              <a:ext uri="{FF2B5EF4-FFF2-40B4-BE49-F238E27FC236}">
                <a16:creationId xmlns:a16="http://schemas.microsoft.com/office/drawing/2014/main" id="{EE739AD0-CA3F-40D4-84F5-356C36A17007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4C71863-F328-4C87-9B4A-6C4870F48A93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 dirty="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EC0D836F-68FF-4058-B4D6-C0223329F5A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F032DEAC-7D7B-42D8-8AEE-5F531F2ACC3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484641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5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pic>
        <p:nvPicPr>
          <p:cNvPr id="30" name="図 71" descr="ea60_010_030_dwin.wmf">
            <a:extLst>
              <a:ext uri="{FF2B5EF4-FFF2-40B4-BE49-F238E27FC236}">
                <a16:creationId xmlns:a16="http://schemas.microsoft.com/office/drawing/2014/main" id="{0483EF94-44AB-410C-8E53-97AD125BC026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0979" y="2939895"/>
            <a:ext cx="3410045" cy="97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17887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9AE4991-E23D-8E49-827E-5322300B38D8}"/>
              </a:ext>
            </a:extLst>
          </p:cNvPr>
          <p:cNvSpPr txBox="1"/>
          <p:nvPr userDrawn="1"/>
        </p:nvSpPr>
        <p:spPr>
          <a:xfrm>
            <a:off x="10265229" y="649877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F48466B-84B4-7646-A5F1-94CCAA0C6E95}"/>
              </a:ext>
            </a:extLst>
          </p:cNvPr>
          <p:cNvSpPr txBox="1"/>
          <p:nvPr userDrawn="1"/>
        </p:nvSpPr>
        <p:spPr>
          <a:xfrm>
            <a:off x="9579429" y="6574971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35431253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 dirty="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3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A1D57C39-052D-4D97-BF5C-F877BAC7929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602494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808080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2FDE84AE-E1A5-48AE-ADE3-598E7428DA1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76F8E8-FFE2-4E36-AA9E-7A1A6D26276A}"/>
              </a:ext>
            </a:extLst>
          </p:cNvPr>
          <p:cNvSpPr txBox="1"/>
          <p:nvPr userDrawn="1"/>
        </p:nvSpPr>
        <p:spPr>
          <a:xfrm>
            <a:off x="9611933" y="6498755"/>
            <a:ext cx="1676741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 dirty="0"/>
              <a:t>© Hitachi, Ltd. 2020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5051268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26734"/>
            <a:ext cx="11082528" cy="27699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150357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1" descr="HSI_PG_FINAL LOCKUP_JPN-EN_16-9-0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2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58125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86272875-7CFB-E54E-A464-DFC119BD2050}"/>
              </a:ext>
            </a:extLst>
          </p:cNvPr>
          <p:cNvSpPr/>
          <p:nvPr userDrawn="1"/>
        </p:nvSpPr>
        <p:spPr>
          <a:xfrm>
            <a:off x="0" y="0"/>
            <a:ext cx="7924800" cy="6876288"/>
          </a:xfrm>
          <a:prstGeom prst="rect">
            <a:avLst/>
          </a:prstGeom>
          <a:solidFill>
            <a:srgbClr val="28338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j-lt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AA4BB55-22A6-9C48-9B94-C2A7131C877F}"/>
              </a:ext>
            </a:extLst>
          </p:cNvPr>
          <p:cNvSpPr/>
          <p:nvPr userDrawn="1"/>
        </p:nvSpPr>
        <p:spPr>
          <a:xfrm>
            <a:off x="7923856" y="0"/>
            <a:ext cx="4268144" cy="687628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j-lt"/>
            </a:endParaRPr>
          </a:p>
        </p:txBody>
      </p:sp>
      <p:sp>
        <p:nvSpPr>
          <p:cNvPr id="5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08465" y="3737490"/>
            <a:ext cx="5715233" cy="1107996"/>
          </a:xfrm>
          <a:prstGeom prst="rect">
            <a:avLst/>
          </a:prstGeom>
          <a:effectLst/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Tx/>
              <a:buFont typeface="Wingdings" charset="2"/>
              <a:buNone/>
              <a:tabLst/>
              <a:defRPr sz="3200" cap="none" baseline="0">
                <a:solidFill>
                  <a:schemeClr val="bg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Subtitle placeholder</a:t>
            </a:r>
          </a:p>
          <a:p>
            <a:r>
              <a:rPr lang="en-US"/>
              <a:t>Subtitle placeholder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 hasCustomPrompt="1"/>
          </p:nvPr>
        </p:nvSpPr>
        <p:spPr>
          <a:xfrm>
            <a:off x="908465" y="967698"/>
            <a:ext cx="6864479" cy="2761725"/>
          </a:xfrm>
          <a:prstGeom prst="rect">
            <a:avLst/>
          </a:prstGeom>
          <a:effectLst/>
        </p:spPr>
        <p:txBody>
          <a:bodyPr anchor="t">
            <a:noAutofit/>
          </a:bodyPr>
          <a:lstStyle>
            <a:lvl1pPr>
              <a:lnSpc>
                <a:spcPct val="100000"/>
              </a:lnSpc>
              <a:defRPr sz="5867" b="1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 Line Hitachi Title Slide Placeholder </a:t>
            </a:r>
            <a:br>
              <a:rPr lang="en-US"/>
            </a:br>
            <a:r>
              <a:rPr lang="en-US"/>
              <a:t>2 Line Hitachi </a:t>
            </a:r>
          </a:p>
        </p:txBody>
      </p:sp>
      <p:sp>
        <p:nvSpPr>
          <p:cNvPr id="58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908466" y="5207080"/>
            <a:ext cx="4725881" cy="379656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867" b="1" baseline="0">
                <a:solidFill>
                  <a:schemeClr val="bg1"/>
                </a:solidFill>
              </a:defRPr>
            </a:lvl1pPr>
            <a:lvl2pPr marL="374640" indent="0">
              <a:buNone/>
              <a:defRPr/>
            </a:lvl2pPr>
            <a:lvl3pPr marL="766214" indent="0">
              <a:buNone/>
              <a:defRPr/>
            </a:lvl3pPr>
            <a:lvl4pPr marL="1140855" indent="0">
              <a:buNone/>
              <a:defRPr/>
            </a:lvl4pPr>
            <a:lvl5pPr marL="1454114" indent="0">
              <a:buNone/>
              <a:defRPr/>
            </a:lvl5pPr>
          </a:lstStyle>
          <a:p>
            <a:pPr lvl="0"/>
            <a:r>
              <a:rPr lang="en-US"/>
              <a:t>Name Here</a:t>
            </a:r>
          </a:p>
        </p:txBody>
      </p:sp>
      <p:sp>
        <p:nvSpPr>
          <p:cNvPr id="79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908466" y="5512869"/>
            <a:ext cx="4725881" cy="584775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400"/>
              </a:spcAft>
              <a:buNone/>
              <a:defRPr sz="1600">
                <a:solidFill>
                  <a:schemeClr val="bg1"/>
                </a:solidFill>
              </a:defRPr>
            </a:lvl1pPr>
            <a:lvl2pPr marL="374640" indent="0">
              <a:buNone/>
              <a:defRPr/>
            </a:lvl2pPr>
            <a:lvl3pPr marL="766214" indent="0">
              <a:buNone/>
              <a:defRPr/>
            </a:lvl3pPr>
            <a:lvl4pPr marL="1140855" indent="0">
              <a:buNone/>
              <a:defRPr/>
            </a:lvl4pPr>
            <a:lvl5pPr marL="1454114" indent="0">
              <a:buNone/>
              <a:defRPr/>
            </a:lvl5pPr>
          </a:lstStyle>
          <a:p>
            <a:pPr lvl="0"/>
            <a:r>
              <a:rPr lang="en-US"/>
              <a:t>Title/Department</a:t>
            </a:r>
            <a:br>
              <a:rPr lang="en-US"/>
            </a:br>
            <a:r>
              <a:rPr lang="en-US"/>
              <a:t>Dat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4AD3290-648D-D840-B50D-09EEC67C7D28}"/>
              </a:ext>
            </a:extLst>
          </p:cNvPr>
          <p:cNvSpPr/>
          <p:nvPr userDrawn="1"/>
        </p:nvSpPr>
        <p:spPr>
          <a:xfrm>
            <a:off x="7923856" y="0"/>
            <a:ext cx="4268144" cy="6876288"/>
          </a:xfrm>
          <a:prstGeom prst="rect">
            <a:avLst/>
          </a:prstGeom>
          <a:gradFill flip="none" rotWithShape="1">
            <a:gsLst>
              <a:gs pos="53000">
                <a:schemeClr val="bg1">
                  <a:alpha val="0"/>
                </a:schemeClr>
              </a:gs>
              <a:gs pos="0">
                <a:srgbClr val="28338C">
                  <a:alpha val="50000"/>
                </a:srgbClr>
              </a:gs>
              <a:gs pos="100000">
                <a:schemeClr val="accent2">
                  <a:lumMod val="61000"/>
                  <a:alpha val="54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j-lt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39418557-F9FB-2C49-8652-E9BC5F420543}"/>
              </a:ext>
            </a:extLst>
          </p:cNvPr>
          <p:cNvSpPr/>
          <p:nvPr userDrawn="1"/>
        </p:nvSpPr>
        <p:spPr>
          <a:xfrm>
            <a:off x="7923856" y="0"/>
            <a:ext cx="4268144" cy="6876288"/>
          </a:xfrm>
          <a:prstGeom prst="rect">
            <a:avLst/>
          </a:prstGeom>
          <a:gradFill flip="none" rotWithShape="1">
            <a:gsLst>
              <a:gs pos="71000">
                <a:schemeClr val="tx2">
                  <a:alpha val="0"/>
                </a:schemeClr>
              </a:gs>
              <a:gs pos="100000">
                <a:schemeClr val="tx2">
                  <a:alpha val="65000"/>
                </a:schemeClr>
              </a:gs>
            </a:gsLst>
            <a:lin ang="18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+mj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C8276006-538D-476C-B1D5-71C7C41D641B}"/>
              </a:ext>
            </a:extLst>
          </p:cNvPr>
          <p:cNvSpPr txBox="1"/>
          <p:nvPr userDrawn="1"/>
        </p:nvSpPr>
        <p:spPr>
          <a:xfrm>
            <a:off x="9335973" y="6607151"/>
            <a:ext cx="28031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en-GB" sz="800">
                <a:solidFill>
                  <a:schemeClr val="bg1"/>
                </a:solidFill>
              </a:rPr>
              <a:t>© Hitachi Europe Ltd. 2021. All rights reserved.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F58E61-59AF-0B40-BD87-B8415DF5B20F}"/>
              </a:ext>
            </a:extLst>
          </p:cNvPr>
          <p:cNvGrpSpPr/>
          <p:nvPr userDrawn="1"/>
        </p:nvGrpSpPr>
        <p:grpSpPr>
          <a:xfrm>
            <a:off x="10246555" y="301096"/>
            <a:ext cx="1663868" cy="475553"/>
            <a:chOff x="2751138" y="3262313"/>
            <a:chExt cx="4665662" cy="1333500"/>
          </a:xfrm>
          <a:solidFill>
            <a:schemeClr val="bg1"/>
          </a:solidFill>
        </p:grpSpPr>
        <p:sp>
          <p:nvSpPr>
            <p:cNvPr id="43" name="Freeform 1">
              <a:extLst>
                <a:ext uri="{FF2B5EF4-FFF2-40B4-BE49-F238E27FC236}">
                  <a16:creationId xmlns:a16="http://schemas.microsoft.com/office/drawing/2014/main" id="{199E89AD-2705-134A-918E-26469FC8C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4" name="Freeform 2">
              <a:extLst>
                <a:ext uri="{FF2B5EF4-FFF2-40B4-BE49-F238E27FC236}">
                  <a16:creationId xmlns:a16="http://schemas.microsoft.com/office/drawing/2014/main" id="{0494D0CA-794C-0E4B-AA3F-CCDBD5829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5" name="Freeform 3">
              <a:extLst>
                <a:ext uri="{FF2B5EF4-FFF2-40B4-BE49-F238E27FC236}">
                  <a16:creationId xmlns:a16="http://schemas.microsoft.com/office/drawing/2014/main" id="{9DCC5901-D10A-FB4A-B33B-ED481418C9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6" name="Freeform 4">
              <a:extLst>
                <a:ext uri="{FF2B5EF4-FFF2-40B4-BE49-F238E27FC236}">
                  <a16:creationId xmlns:a16="http://schemas.microsoft.com/office/drawing/2014/main" id="{E89E2B8D-ACF0-2F45-AEFB-BDDCF2F74F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22029583-0D66-5343-987C-CF43A574E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49" name="Freeform 6">
              <a:extLst>
                <a:ext uri="{FF2B5EF4-FFF2-40B4-BE49-F238E27FC236}">
                  <a16:creationId xmlns:a16="http://schemas.microsoft.com/office/drawing/2014/main" id="{853178F1-F0AF-6240-8FB2-09BC14B17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587CA836-2BC9-604B-8F93-B6FA817F99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9BEF782E-D5DE-734F-9C51-AB343EB19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0C8F20BF-80B8-AA43-8103-58006CF5B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5B65AB5A-E732-2349-89E5-B07E52492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18907CF9-1658-E045-9ADF-2C0EB38067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6582D328-B23E-7E45-9263-09C9535401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1C5D63DB-4DD9-2E40-B566-7E733EBF88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6CC37E30-3AA8-3A4D-938A-A8B8E7A953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15F29EA2-8A57-A243-BA94-EEAE6BD449B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2" name="Freeform 16">
              <a:extLst>
                <a:ext uri="{FF2B5EF4-FFF2-40B4-BE49-F238E27FC236}">
                  <a16:creationId xmlns:a16="http://schemas.microsoft.com/office/drawing/2014/main" id="{8896A965-59FA-E943-96EE-601F7005C8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3" name="Freeform 17">
              <a:extLst>
                <a:ext uri="{FF2B5EF4-FFF2-40B4-BE49-F238E27FC236}">
                  <a16:creationId xmlns:a16="http://schemas.microsoft.com/office/drawing/2014/main" id="{00A05657-BBA5-E04D-A9B7-BB46AB415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:a16="http://schemas.microsoft.com/office/drawing/2014/main" id="{75D59710-E8C6-394A-9E64-D4371DD8683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5" name="Freeform 19">
              <a:extLst>
                <a:ext uri="{FF2B5EF4-FFF2-40B4-BE49-F238E27FC236}">
                  <a16:creationId xmlns:a16="http://schemas.microsoft.com/office/drawing/2014/main" id="{E31E38F3-CCD4-0D4A-B5AE-0E15DBF0F8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6" name="Freeform 20">
              <a:extLst>
                <a:ext uri="{FF2B5EF4-FFF2-40B4-BE49-F238E27FC236}">
                  <a16:creationId xmlns:a16="http://schemas.microsoft.com/office/drawing/2014/main" id="{EA81CA55-89FF-C642-90AD-A67CE9108A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67" name="Freeform 21">
              <a:extLst>
                <a:ext uri="{FF2B5EF4-FFF2-40B4-BE49-F238E27FC236}">
                  <a16:creationId xmlns:a16="http://schemas.microsoft.com/office/drawing/2014/main" id="{B993E30F-1BC1-EE44-BD31-C649CB700CD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1" name="Freeform 22">
              <a:extLst>
                <a:ext uri="{FF2B5EF4-FFF2-40B4-BE49-F238E27FC236}">
                  <a16:creationId xmlns:a16="http://schemas.microsoft.com/office/drawing/2014/main" id="{5220F4C6-9400-5942-B0AF-9C8740ABF2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92" name="Freeform 23">
              <a:extLst>
                <a:ext uri="{FF2B5EF4-FFF2-40B4-BE49-F238E27FC236}">
                  <a16:creationId xmlns:a16="http://schemas.microsoft.com/office/drawing/2014/main" id="{0D77D15C-59D2-2D40-8EFB-AE8D4D6452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40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409261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442" y="1"/>
            <a:ext cx="8929439" cy="68317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94453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4CE7757-F3A6-474F-AE0A-C40DD22B74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23812" y="2122535"/>
            <a:ext cx="10180320" cy="268517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362CB8A-96E2-488B-B3E0-95F9A8CF1A04}"/>
              </a:ext>
            </a:extLst>
          </p:cNvPr>
          <p:cNvSpPr/>
          <p:nvPr userDrawn="1"/>
        </p:nvSpPr>
        <p:spPr>
          <a:xfrm>
            <a:off x="0" y="0"/>
            <a:ext cx="12192000" cy="119062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76000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F477D-6C63-4F4F-9AE3-EEDFA6E93E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3524" y="187199"/>
            <a:ext cx="8856000" cy="435600"/>
          </a:xfrm>
        </p:spPr>
        <p:txBody>
          <a:bodyPr anchor="ctr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98BABD1-A7C4-447E-A56D-EF5778C36C8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416400" y="6456496"/>
            <a:ext cx="6688800" cy="234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5B82CA-C741-4F61-8DD8-8CF4BB983BD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4EC536-6FE3-4540-8D85-74C58F0BF6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1896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1143680-8334-45F3-AA10-982A8BE59B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DFD646-E2A2-4346-B32A-C89442F124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CF3D6A-886F-4D7E-BD16-80C622FE00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28F83C-BC0C-4BD9-B58F-508EE37D4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1E7177-002F-4E33-9002-51894FB12C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107016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0"/>
          <p:cNvSpPr>
            <a:spLocks noChangeArrowheads="1"/>
          </p:cNvSpPr>
          <p:nvPr userDrawn="1"/>
        </p:nvSpPr>
        <p:spPr bwMode="gray">
          <a:xfrm>
            <a:off x="264586" y="1012826"/>
            <a:ext cx="11662833" cy="5543551"/>
          </a:xfrm>
          <a:prstGeom prst="rect">
            <a:avLst/>
          </a:prstGeom>
          <a:noFill/>
          <a:ln w="3175">
            <a:noFill/>
            <a:prstDash val="dash"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ja-JP" altLang="en-US" sz="2400"/>
          </a:p>
        </p:txBody>
      </p:sp>
      <p:sp>
        <p:nvSpPr>
          <p:cNvPr id="2" name="タイトル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150923" y="178328"/>
            <a:ext cx="9981984" cy="46172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2667" b="1">
                <a:solidFill>
                  <a:schemeClr val="tx1"/>
                </a:solidFill>
                <a:latin typeface="+mj-lt"/>
                <a:ea typeface="Meiryo UI" panose="020B0604030504040204" pitchFamily="50" charset="-128"/>
              </a:defRPr>
            </a:lvl1pPr>
          </a:lstStyle>
          <a:p>
            <a:r>
              <a:rPr lang="en-US" altLang="ja-JP"/>
              <a:t>Title</a:t>
            </a:r>
            <a:endParaRPr lang="ja-JP" altLang="en-US"/>
          </a:p>
        </p:txBody>
      </p:sp>
      <p:sp>
        <p:nvSpPr>
          <p:cNvPr id="73" name="正方形/長方形 11"/>
          <p:cNvSpPr>
            <a:spLocks noChangeArrowheads="1"/>
          </p:cNvSpPr>
          <p:nvPr userDrawn="1"/>
        </p:nvSpPr>
        <p:spPr bwMode="gray">
          <a:xfrm>
            <a:off x="0" y="794367"/>
            <a:ext cx="12192000" cy="88389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 sz="2400"/>
          </a:p>
        </p:txBody>
      </p:sp>
      <p:grpSp>
        <p:nvGrpSpPr>
          <p:cNvPr id="74" name="グループ化 62"/>
          <p:cNvGrpSpPr/>
          <p:nvPr userDrawn="1"/>
        </p:nvGrpSpPr>
        <p:grpSpPr bwMode="gray">
          <a:xfrm>
            <a:off x="-3" y="794367"/>
            <a:ext cx="1757857" cy="88389"/>
            <a:chOff x="312738" y="2747963"/>
            <a:chExt cx="1970087" cy="109537"/>
          </a:xfrm>
        </p:grpSpPr>
        <p:sp>
          <p:nvSpPr>
            <p:cNvPr id="75" name="正方形/長方形 74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24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正方形/長方形 75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24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49" name="図 48" descr="ea60_010_030_dwin.wmf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5567" y="184154"/>
            <a:ext cx="1593600" cy="45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26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993">
          <p15:clr>
            <a:srgbClr val="FBAE40"/>
          </p15:clr>
        </p15:guide>
        <p15:guide id="4" pos="2767">
          <p15:clr>
            <a:srgbClr val="FBAE40"/>
          </p15:clr>
        </p15:guide>
        <p15:guide id="5" pos="1814">
          <p15:clr>
            <a:srgbClr val="FBAE40"/>
          </p15:clr>
        </p15:guide>
        <p15:guide id="6" pos="3719">
          <p15:clr>
            <a:srgbClr val="FBAE40"/>
          </p15:clr>
        </p15:guide>
        <p15:guide id="7" pos="2041">
          <p15:clr>
            <a:srgbClr val="FBAE40"/>
          </p15:clr>
        </p15:guide>
        <p15:guide id="8" pos="3966">
          <p15:clr>
            <a:srgbClr val="FBAE40"/>
          </p15:clr>
        </p15:guide>
        <p15:guide id="9" orient="horz" pos="1824">
          <p15:clr>
            <a:srgbClr val="FBAE40"/>
          </p15:clr>
        </p15:guide>
        <p15:guide id="10" orient="horz" pos="713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150923" y="237871"/>
            <a:ext cx="2054986" cy="461729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defRPr lang="en-US" altLang="ja-JP" sz="2667" b="1" smtClean="0">
                <a:solidFill>
                  <a:schemeClr val="tx1"/>
                </a:solidFill>
                <a:ea typeface="ＭＳ Ｐゴシック" pitchFamily="50" charset="-128"/>
                <a:cs typeface="Arial" charset="0"/>
              </a:defRPr>
            </a:lvl1pPr>
          </a:lstStyle>
          <a:p>
            <a:r>
              <a:rPr lang="en-US" altLang="ja-JP" b="1">
                <a:latin typeface="+mj-lt"/>
                <a:ea typeface="ＭＳ Ｐゴシック" pitchFamily="50" charset="-128"/>
                <a:cs typeface="Arial" charset="0"/>
              </a:rPr>
              <a:t>Contents Title</a:t>
            </a:r>
            <a:endParaRPr lang="ja-JP" altLang="en-US"/>
          </a:p>
        </p:txBody>
      </p:sp>
      <p:sp>
        <p:nvSpPr>
          <p:cNvPr id="68" name="正方形/長方形 11"/>
          <p:cNvSpPr>
            <a:spLocks noChangeArrowheads="1"/>
          </p:cNvSpPr>
          <p:nvPr userDrawn="1"/>
        </p:nvSpPr>
        <p:spPr bwMode="gray">
          <a:xfrm>
            <a:off x="0" y="894775"/>
            <a:ext cx="12192000" cy="88389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 sz="240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01892" y="1134521"/>
            <a:ext cx="11588216" cy="543136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5" name="Picture 14" descr="http://sharepoint/Networks/ElecDistrib/Elec_Distrib_Lib/Innovation%20Stimulus/NIC%20-%20YEAR%201/NIC%20logo/NIC%20logo.PNG"/>
          <p:cNvPicPr/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2785" y="6448425"/>
            <a:ext cx="1420320" cy="345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スライド番号プレースホルダ 2"/>
          <p:cNvSpPr txBox="1">
            <a:spLocks/>
          </p:cNvSpPr>
          <p:nvPr userDrawn="1"/>
        </p:nvSpPr>
        <p:spPr bwMode="gray">
          <a:xfrm>
            <a:off x="0" y="6536267"/>
            <a:ext cx="651933" cy="304800"/>
          </a:xfrm>
          <a:prstGeom prst="rect">
            <a:avLst/>
          </a:prstGeom>
        </p:spPr>
        <p:txBody>
          <a:bodyPr/>
          <a:lstStyle>
            <a:lvl1pPr algn="r">
              <a:defRPr sz="1100" smtClean="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121917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90173A9-6621-4FFE-BC07-AC198BDD4C9A}" type="slidenum">
              <a:rPr kumimoji="1" lang="en-US" altLang="ja-JP" sz="1467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HGPｺﾞｼｯｸE" pitchFamily="50" charset="-128"/>
                <a:cs typeface="Arial" pitchFamily="34" charset="0"/>
              </a:rPr>
              <a:pPr marL="0" marR="0" lvl="0" indent="0" algn="r" defTabSz="121917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ja-JP" sz="1467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HGPｺﾞｼｯｸE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190446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29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655D27C4-7AE5-42A4-9F14-75B5DFB7B06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9173" y="727481"/>
            <a:ext cx="9638075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70DACEC3-56E4-4ECA-938E-A0FFA51B5A8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257CA2-605F-EB46-BCC1-690AA4CA4151}"/>
              </a:ext>
            </a:extLst>
          </p:cNvPr>
          <p:cNvSpPr txBox="1"/>
          <p:nvPr userDrawn="1"/>
        </p:nvSpPr>
        <p:spPr>
          <a:xfrm>
            <a:off x="10341864" y="655624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414972963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57874-8D75-446D-8DCB-B8F5F0126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47E704-5762-41D1-B23D-5842777A1A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98F0E9-14DA-4AEE-B275-A46564BA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>
              <a:defRPr/>
            </a:pPr>
            <a:fld id="{3084A774-2E75-4989-99B0-C6C738950AE9}" type="datetimeFigureOut">
              <a:rPr lang="en-GB" smtClean="0">
                <a:solidFill>
                  <a:srgbClr val="000000"/>
                </a:solidFill>
              </a:rPr>
              <a:pPr defTabSz="914377">
                <a:defRPr/>
              </a:pPr>
              <a:t>01/02/2022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DAD25C-BB48-4148-929A-7BC49924A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9B6A87-7D84-4C37-A5CE-40649F237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60D130E1-1364-465D-B4CD-95525F0457E4}" type="slidenum">
              <a:rPr lang="en-GB" smtClean="0">
                <a:solidFill>
                  <a:srgbClr val="000000"/>
                </a:solidFill>
              </a:rPr>
              <a:pPr defTabSz="914377"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45771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150921" y="217955"/>
            <a:ext cx="9984000" cy="292388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en-US" altLang="ja-JP" sz="2000" b="1" smtClean="0">
                <a:solidFill>
                  <a:schemeClr val="tx1"/>
                </a:solidFill>
                <a:latin typeface="+mn-lt"/>
                <a:ea typeface="+mn-ea"/>
                <a:cs typeface="Arial" charset="0"/>
              </a:defRPr>
            </a:lvl1pPr>
          </a:lstStyle>
          <a:p>
            <a:r>
              <a:rPr lang="en-US" altLang="ja-JP" b="1">
                <a:latin typeface="+mj-lt"/>
                <a:ea typeface="ＭＳ Ｐゴシック" pitchFamily="50" charset="-128"/>
                <a:cs typeface="Arial" charset="0"/>
              </a:rPr>
              <a:t>Contents Title</a:t>
            </a:r>
            <a:endParaRPr lang="ja-JP" altLang="en-US"/>
          </a:p>
        </p:txBody>
      </p:sp>
      <p:sp>
        <p:nvSpPr>
          <p:cNvPr id="68" name="正方形/長方形 11"/>
          <p:cNvSpPr>
            <a:spLocks noChangeArrowheads="1"/>
          </p:cNvSpPr>
          <p:nvPr userDrawn="1"/>
        </p:nvSpPr>
        <p:spPr bwMode="gray">
          <a:xfrm>
            <a:off x="0" y="794368"/>
            <a:ext cx="12192000" cy="88389"/>
          </a:xfrm>
          <a:prstGeom prst="rect">
            <a:avLst/>
          </a:prstGeom>
          <a:solidFill>
            <a:srgbClr val="7373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ja-JP" altLang="en-US" sz="2600"/>
          </a:p>
        </p:txBody>
      </p:sp>
      <p:grpSp>
        <p:nvGrpSpPr>
          <p:cNvPr id="69" name="グループ化 62"/>
          <p:cNvGrpSpPr/>
          <p:nvPr userDrawn="1"/>
        </p:nvGrpSpPr>
        <p:grpSpPr bwMode="gray">
          <a:xfrm>
            <a:off x="-3" y="794368"/>
            <a:ext cx="1757857" cy="88389"/>
            <a:chOff x="312738" y="2747963"/>
            <a:chExt cx="1970087" cy="109537"/>
          </a:xfrm>
        </p:grpSpPr>
        <p:sp>
          <p:nvSpPr>
            <p:cNvPr id="70" name="正方形/長方形 69"/>
            <p:cNvSpPr/>
            <p:nvPr/>
          </p:nvSpPr>
          <p:spPr bwMode="gray">
            <a:xfrm>
              <a:off x="312738" y="2747963"/>
              <a:ext cx="1970087" cy="109537"/>
            </a:xfrm>
            <a:prstGeom prst="rect">
              <a:avLst/>
            </a:pr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1" name="正方形/長方形 70"/>
            <p:cNvSpPr/>
            <p:nvPr/>
          </p:nvSpPr>
          <p:spPr bwMode="gray">
            <a:xfrm>
              <a:off x="312738" y="2747963"/>
              <a:ext cx="985837" cy="109537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l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ja-JP" altLang="en-US" sz="18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72" name="図 71" descr="ea60_010_030_dwin.w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5567" y="184155"/>
            <a:ext cx="1593600" cy="457143"/>
          </a:xfrm>
          <a:prstGeom prst="rect">
            <a:avLst/>
          </a:prstGeom>
        </p:spPr>
      </p:pic>
      <p:sp>
        <p:nvSpPr>
          <p:cNvPr id="11" name="テキスト プレースホルダー 9">
            <a:extLst>
              <a:ext uri="{FF2B5EF4-FFF2-40B4-BE49-F238E27FC236}">
                <a16:creationId xmlns:a16="http://schemas.microsoft.com/office/drawing/2014/main" id="{49302205-4951-459A-882A-A2A7575E37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0919" y="6555016"/>
            <a:ext cx="8880000" cy="268800"/>
          </a:xfrm>
          <a:prstGeom prst="rect">
            <a:avLst/>
          </a:prstGeom>
        </p:spPr>
        <p:txBody>
          <a:bodyPr anchor="b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kumimoji="1" lang="ja-JP" altLang="en-US" sz="600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1pPr>
            <a:lvl2pPr>
              <a:defRPr kumimoji="1" lang="ja-JP" altLang="en-US" sz="800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2pPr>
            <a:lvl3pPr>
              <a:defRPr kumimoji="1" lang="ja-JP" altLang="en-US" sz="800" kern="1200" dirty="0" smtClean="0">
                <a:solidFill>
                  <a:schemeClr val="tx1"/>
                </a:solidFill>
                <a:latin typeface="+mn-ea"/>
                <a:ea typeface="+mn-ea"/>
                <a:cs typeface="+mn-cs"/>
              </a:defRPr>
            </a:lvl3pPr>
          </a:lstStyle>
          <a:p>
            <a:pPr lvl="0"/>
            <a:r>
              <a:rPr kumimoji="1" lang="en-US" altLang="ja-JP"/>
              <a:t>Notes</a:t>
            </a:r>
            <a:endParaRPr kumimoji="1" lang="ja-JP" altLang="en-US"/>
          </a:p>
        </p:txBody>
      </p:sp>
      <p:sp>
        <p:nvSpPr>
          <p:cNvPr id="12" name="テキスト プレースホルダー 15">
            <a:extLst>
              <a:ext uri="{FF2B5EF4-FFF2-40B4-BE49-F238E27FC236}">
                <a16:creationId xmlns:a16="http://schemas.microsoft.com/office/drawing/2014/main" id="{1AD95986-A13A-4D04-A930-AEBD7E3773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0924" y="949821"/>
            <a:ext cx="11809305" cy="386054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1800" b="1">
                <a:latin typeface="+mj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14" name="スライド番号プレースホルダ 2">
            <a:extLst>
              <a:ext uri="{FF2B5EF4-FFF2-40B4-BE49-F238E27FC236}">
                <a16:creationId xmlns:a16="http://schemas.microsoft.com/office/drawing/2014/main" id="{35AB3AAE-EAB6-4A7B-B41B-16DE679CC35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413814" y="6555016"/>
            <a:ext cx="651933" cy="304800"/>
          </a:xfrm>
          <a:prstGeom prst="rect">
            <a:avLst/>
          </a:prstGeom>
        </p:spPr>
        <p:txBody>
          <a:bodyPr/>
          <a:lstStyle>
            <a:lvl1pPr algn="r">
              <a:defRPr sz="1100" smtClean="0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90173A9-6621-4FFE-BC07-AC198BDD4C9A}" type="slidenum">
              <a:rPr kumimoji="1" lang="en-US" altLang="ja-JP" sz="14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Yu Gothic UI" panose="020B0500000000000000" pitchFamily="50" charset="-128"/>
                <a:ea typeface="Yu Gothic UI" panose="020B0500000000000000" pitchFamily="50" charset="-128"/>
                <a:cs typeface="Arial" pitchFamily="34" charset="0"/>
              </a:rPr>
              <a:pPr marL="0" marR="0" lvl="0" indent="0" algn="r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1" lang="en-US" altLang="ja-JP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Yu Gothic UI" panose="020B0500000000000000" pitchFamily="50" charset="-128"/>
              <a:ea typeface="Yu Gothic UI" panose="020B0500000000000000" pitchFamily="50" charset="-128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795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3" orient="horz" pos="1787">
          <p15:clr>
            <a:srgbClr val="FBAE40"/>
          </p15:clr>
        </p15:guide>
        <p15:guide id="6" pos="126">
          <p15:clr>
            <a:srgbClr val="FBAE40"/>
          </p15:clr>
        </p15:guide>
        <p15:guide id="7" pos="5633">
          <p15:clr>
            <a:srgbClr val="FBAE40"/>
          </p15:clr>
        </p15:guide>
        <p15:guide id="8" orient="horz" pos="476">
          <p15:clr>
            <a:srgbClr val="FBAE40"/>
          </p15:clr>
        </p15:guide>
        <p15:guide id="9" orient="horz" pos="309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1390608" y="3328654"/>
            <a:ext cx="10801392" cy="3529349"/>
          </a:xfrm>
        </p:spPr>
        <p:txBody>
          <a:bodyPr lIns="360000" anchor="ctr"/>
          <a:lstStyle>
            <a:lvl1pPr marL="0" indent="0" algn="l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section image here &gt;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407281" y="1453825"/>
            <a:ext cx="7389883" cy="42404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8797163" y="1948915"/>
            <a:ext cx="2861152" cy="27055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r">
              <a:buFontTx/>
              <a:buNone/>
              <a:defRPr sz="1400" b="0" baseline="0">
                <a:solidFill>
                  <a:srgbClr val="4D4D4D"/>
                </a:solidFill>
                <a:latin typeface="+mj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07281" y="1862226"/>
            <a:ext cx="7389883" cy="389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GB" sz="2000" b="0" kern="1200" baseline="0" dirty="0" smtClean="0">
                <a:solidFill>
                  <a:srgbClr val="14131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1437342" y="2657066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1437342" y="2810134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1437342" y="2918779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3273825" y="2657061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3273825" y="2810134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3273825" y="2918779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0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120091" y="2657066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5120091" y="2810134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5120091" y="2918779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3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956576" y="2657061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956576" y="2810134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6956576" y="2918779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326147486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634" y="902797"/>
            <a:ext cx="10155767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6632" y="2080916"/>
            <a:ext cx="10155768" cy="39414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4" y="1373801"/>
            <a:ext cx="10155767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7963244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Two Column 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26633" y="2257425"/>
            <a:ext cx="4862728" cy="38687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3430" y="2257425"/>
            <a:ext cx="4968972" cy="38687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26634" y="902797"/>
            <a:ext cx="10155767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4" y="1373801"/>
            <a:ext cx="10155767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83062016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426634" y="902797"/>
            <a:ext cx="10155767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4" y="1373801"/>
            <a:ext cx="10155767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23687030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8843468" y="982663"/>
            <a:ext cx="3361267" cy="590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141313"/>
              </a:solidFill>
              <a:latin typeface="Arial"/>
            </a:endParaRP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843468" y="982661"/>
            <a:ext cx="3361267" cy="5875339"/>
          </a:xfrm>
          <a:prstGeom prst="rect">
            <a:avLst/>
          </a:prstGeom>
          <a:solidFill>
            <a:srgbClr val="D7DAD6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141313"/>
              </a:solidFill>
              <a:latin typeface="Arial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1426635" y="2080920"/>
            <a:ext cx="7404103" cy="39973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063131" y="1168407"/>
            <a:ext cx="2917237" cy="451807"/>
          </a:xfrm>
        </p:spPr>
        <p:txBody>
          <a:bodyPr anchor="t">
            <a:noAutofit/>
          </a:bodyPr>
          <a:lstStyle>
            <a:lvl1pPr marL="0" indent="0">
              <a:lnSpc>
                <a:spcPts val="1051"/>
              </a:lnSpc>
              <a:buNone/>
              <a:defRPr sz="1100" b="1" i="0">
                <a:solidFill>
                  <a:srgbClr val="1A1A1A"/>
                </a:solidFill>
                <a:latin typeface="+mj-lt"/>
                <a:cs typeface="Myriad Pro"/>
              </a:defRPr>
            </a:lvl1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9063570" y="1690033"/>
            <a:ext cx="2916767" cy="4436131"/>
          </a:xfrm>
        </p:spPr>
        <p:txBody>
          <a:bodyPr>
            <a:normAutofit/>
          </a:bodyPr>
          <a:lstStyle>
            <a:lvl1pPr marL="114297" indent="-114297">
              <a:defRPr sz="1100">
                <a:solidFill>
                  <a:srgbClr val="272727"/>
                </a:solidFill>
              </a:defRPr>
            </a:lvl1pPr>
            <a:lvl2pPr marL="285744" indent="-146047">
              <a:defRPr sz="1051">
                <a:solidFill>
                  <a:srgbClr val="272727"/>
                </a:solidFill>
              </a:defRPr>
            </a:lvl2pPr>
            <a:lvl3pPr marL="387341" indent="-95248">
              <a:defRPr sz="900">
                <a:solidFill>
                  <a:srgbClr val="272727"/>
                </a:solidFill>
              </a:defRPr>
            </a:lvl3pPr>
            <a:lvl4pPr marL="539737" indent="-133347">
              <a:tabLst/>
              <a:defRPr sz="800">
                <a:solidFill>
                  <a:srgbClr val="272727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426636" y="902797"/>
            <a:ext cx="7416833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5" y="1373801"/>
            <a:ext cx="7404103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41584495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5207655-88F8-422D-B6DA-37B35CAE727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8" y="-57235"/>
            <a:ext cx="14089589" cy="6915235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5C8CBF-0DA7-4D03-A2A5-A0821FBAC38B}"/>
              </a:ext>
            </a:extLst>
          </p:cNvPr>
          <p:cNvSpPr/>
          <p:nvPr userDrawn="1"/>
        </p:nvSpPr>
        <p:spPr>
          <a:xfrm>
            <a:off x="3177" y="2806810"/>
            <a:ext cx="12188824" cy="4051191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55000"/>
                </a:srgbClr>
              </a:gs>
              <a:gs pos="100000">
                <a:srgbClr val="000000">
                  <a:alpha val="3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8622" y="5861891"/>
            <a:ext cx="1089793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8622" y="4762814"/>
            <a:ext cx="10897937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8622" y="3294406"/>
            <a:ext cx="10897937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39" name="Picture 36">
            <a:extLst>
              <a:ext uri="{FF2B5EF4-FFF2-40B4-BE49-F238E27FC236}">
                <a16:creationId xmlns:a16="http://schemas.microsoft.com/office/drawing/2014/main" id="{B9E0F882-9D82-48BB-8508-5E570310CA53}"/>
              </a:ext>
            </a:extLst>
          </p:cNvPr>
          <p:cNvSpPr>
            <a:spLocks/>
          </p:cNvSpPr>
          <p:nvPr userDrawn="1"/>
        </p:nvSpPr>
        <p:spPr>
          <a:xfrm>
            <a:off x="-1" y="1"/>
            <a:ext cx="12192001" cy="1145895"/>
          </a:xfrm>
          <a:prstGeom prst="rect">
            <a:avLst/>
          </a:prstGeom>
          <a:gradFill flip="none" rotWithShape="1">
            <a:gsLst>
              <a:gs pos="0">
                <a:srgbClr val="1F497D">
                  <a:alpha val="40000"/>
                </a:srgbClr>
              </a:gs>
              <a:gs pos="100000">
                <a:srgbClr val="1F497D">
                  <a:alpha val="0"/>
                </a:srgb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377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GB" sz="2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HGPｺﾞｼｯｸE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631BEDA-FF95-4B0E-9765-01CB688B32B1}"/>
              </a:ext>
            </a:extLst>
          </p:cNvPr>
          <p:cNvGrpSpPr/>
          <p:nvPr userDrawn="1"/>
        </p:nvGrpSpPr>
        <p:grpSpPr>
          <a:xfrm>
            <a:off x="9631362" y="295448"/>
            <a:ext cx="1915197" cy="547387"/>
            <a:chOff x="2751138" y="3262313"/>
            <a:chExt cx="4665662" cy="1333500"/>
          </a:xfrm>
          <a:solidFill>
            <a:srgbClr val="FFFFFF"/>
          </a:solidFill>
        </p:grpSpPr>
        <p:sp>
          <p:nvSpPr>
            <p:cNvPr id="11" name="Freeform 1">
              <a:extLst>
                <a:ext uri="{FF2B5EF4-FFF2-40B4-BE49-F238E27FC236}">
                  <a16:creationId xmlns:a16="http://schemas.microsoft.com/office/drawing/2014/main" id="{28826816-EE87-495B-82F6-30A8B6235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2">
              <a:extLst>
                <a:ext uri="{FF2B5EF4-FFF2-40B4-BE49-F238E27FC236}">
                  <a16:creationId xmlns:a16="http://schemas.microsoft.com/office/drawing/2014/main" id="{B178C594-A40C-4AC8-9151-3803FEA3CB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3">
              <a:extLst>
                <a:ext uri="{FF2B5EF4-FFF2-40B4-BE49-F238E27FC236}">
                  <a16:creationId xmlns:a16="http://schemas.microsoft.com/office/drawing/2014/main" id="{EDDC1B1E-DDDE-4C21-9A1B-DC3634EBD3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FB01EF76-C7CE-4B36-9569-B161C7FF8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118BC77-642F-4656-B0EB-0C2963056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1FAED86F-C42D-4CFE-BC79-8596C2806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FAD3BED-44A4-46E1-AE69-F33F4FBD5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21428370-4CFB-4D8F-A8D9-0215DAA65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7914F069-0F4D-4476-B12D-015CE6F7E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1F0506B-D8BE-403D-A60E-104CF2940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D33D27E-6BF1-43C0-AD07-695FCAE0D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12F30732-F82B-4674-ACCA-62F995D0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8BEC718E-314C-4695-AA84-6C282C0A1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9F2351-5EFC-484F-815B-398F31CD6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959BFC36-3832-45B4-8CE8-EC15383E96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D81593FD-B89B-4431-89D6-0CD6D3F44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36EDA422-8C0E-4309-A77B-40EF81FCC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8AFD84B5-761F-4DA3-A5ED-3449BD933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E98B1DC3-6F69-4825-92B4-91C6102B4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24F37235-66EE-4350-9454-D07B2F8B3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6884801B-FBDA-4202-BB88-C4C18427F5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EAF350DF-2433-494E-969C-A445551B2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E9E748F5-83FA-4114-922E-1A8501EB6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rgbClr val="FF0026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333534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6"/>
          <p:cNvSpPr>
            <a:spLocks noGrp="1"/>
          </p:cNvSpPr>
          <p:nvPr>
            <p:ph type="pic" sz="quarter" idx="28" hasCustomPrompt="1"/>
          </p:nvPr>
        </p:nvSpPr>
        <p:spPr>
          <a:xfrm>
            <a:off x="0" y="3610800"/>
            <a:ext cx="12192000" cy="3064411"/>
          </a:xfrm>
        </p:spPr>
        <p:txBody>
          <a:bodyPr>
            <a:noAutofit/>
          </a:bodyPr>
          <a:lstStyle>
            <a:lvl1pPr marL="269868" indent="165096" algn="l">
              <a:buNone/>
              <a:defRPr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88434" y="1981204"/>
            <a:ext cx="9264652" cy="305237"/>
          </a:xfrm>
        </p:spPr>
        <p:txBody>
          <a:bodyPr>
            <a:normAutofit/>
          </a:bodyPr>
          <a:lstStyle>
            <a:lvl1pPr>
              <a:defRPr sz="2400">
                <a:solidFill>
                  <a:srgbClr val="1A1A1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5" y="2237591"/>
            <a:ext cx="9264653" cy="304800"/>
          </a:xfrm>
        </p:spPr>
        <p:txBody>
          <a:bodyPr anchor="t">
            <a:noAutofit/>
          </a:bodyPr>
          <a:lstStyle>
            <a:lvl1pPr marL="0" indent="0"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9" name="Text Box 27"/>
          <p:cNvSpPr txBox="1">
            <a:spLocks noChangeArrowheads="1"/>
          </p:cNvSpPr>
          <p:nvPr userDrawn="1"/>
        </p:nvSpPr>
        <p:spPr bwMode="auto">
          <a:xfrm>
            <a:off x="588433" y="389223"/>
            <a:ext cx="1955800" cy="12311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FFFFFF"/>
                </a:solidFill>
                <a:latin typeface="Arial"/>
              </a:rPr>
              <a:t>www.hitachiconsulting.com</a:t>
            </a:r>
            <a:endParaRPr lang="en-US" sz="5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88435" y="3005002"/>
            <a:ext cx="1821157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588435" y="3158070"/>
            <a:ext cx="182115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88435" y="3266715"/>
            <a:ext cx="182115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2417840" y="3004997"/>
            <a:ext cx="1846387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417840" y="3158070"/>
            <a:ext cx="184638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2417840" y="3266715"/>
            <a:ext cx="184638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30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10117668" y="3266715"/>
            <a:ext cx="1833032" cy="214315"/>
          </a:xfrm>
        </p:spPr>
        <p:txBody>
          <a:bodyPr lIns="0" tIns="46800" rIns="0" bIns="0" anchor="t" anchorCtr="0">
            <a:noAutofit/>
          </a:bodyPr>
          <a:lstStyle>
            <a:lvl1pPr marL="0" indent="0" algn="r">
              <a:buFontTx/>
              <a:buNone/>
              <a:defRPr sz="1000" b="1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271183" y="3005002"/>
            <a:ext cx="1821157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4271183" y="3158070"/>
            <a:ext cx="182115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4271183" y="3266715"/>
            <a:ext cx="182115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6100589" y="3004997"/>
            <a:ext cx="1846387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1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100589" y="3158070"/>
            <a:ext cx="184638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2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100589" y="3266715"/>
            <a:ext cx="184638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33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7954432" y="3004997"/>
            <a:ext cx="2146301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4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7954432" y="3158070"/>
            <a:ext cx="214630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5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7954433" y="3266715"/>
            <a:ext cx="2146303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38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68" y="1981205"/>
            <a:ext cx="1833032" cy="561191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6C6E6D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</p:spTree>
    <p:extLst>
      <p:ext uri="{BB962C8B-B14F-4D97-AF65-F5344CB8AC3E}">
        <p14:creationId xmlns:p14="http://schemas.microsoft.com/office/powerpoint/2010/main" val="46751429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C Bullet Slide (Style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5" y="914400"/>
            <a:ext cx="11362268" cy="304800"/>
          </a:xfrm>
        </p:spPr>
        <p:txBody>
          <a:bodyPr anchor="t">
            <a:noAutofit/>
          </a:bodyPr>
          <a:lstStyle>
            <a:lvl1pPr marL="0" indent="0">
              <a:buNone/>
              <a:defRPr sz="2000">
                <a:solidFill>
                  <a:srgbClr val="FD0014"/>
                </a:solidFill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5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70" y="6032503"/>
            <a:ext cx="1833033" cy="632279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>
          <a:xfrm>
            <a:off x="588433" y="1524001"/>
            <a:ext cx="11362267" cy="449564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6616729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0400" y="1522800"/>
            <a:ext cx="11361600" cy="449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913600" y="6724800"/>
            <a:ext cx="1142400" cy="75600"/>
          </a:xfrm>
          <a:prstGeom prst="rect">
            <a:avLst/>
          </a:prstGeom>
        </p:spPr>
        <p:txBody>
          <a:bodyPr/>
          <a:lstStyle/>
          <a:p>
            <a:pPr defTabSz="457189"/>
            <a:r>
              <a:rPr lang="en-GB">
                <a:solidFill>
                  <a:srgbClr val="141313"/>
                </a:solidFill>
              </a:rPr>
              <a:t>Commercial in Confide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1040" y="6715149"/>
            <a:ext cx="227360" cy="85252"/>
          </a:xfrm>
          <a:prstGeom prst="rect">
            <a:avLst/>
          </a:prstGeom>
        </p:spPr>
        <p:txBody>
          <a:bodyPr/>
          <a:lstStyle/>
          <a:p>
            <a:pPr defTabSz="457189"/>
            <a:fld id="{E24401F2-8A98-484F-805F-4DFCE04E06B4}" type="slidenum">
              <a:rPr lang="en-GB" smtClean="0">
                <a:solidFill>
                  <a:srgbClr val="141313"/>
                </a:solidFill>
              </a:rPr>
              <a:pPr defTabSz="457189"/>
              <a:t>‹#›</a:t>
            </a:fld>
            <a:endParaRPr lang="en-GB">
              <a:solidFill>
                <a:srgbClr val="141313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90400" y="914400"/>
            <a:ext cx="11361600" cy="30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8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70" y="6032503"/>
            <a:ext cx="1833033" cy="632279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</p:spTree>
    <p:extLst>
      <p:ext uri="{BB962C8B-B14F-4D97-AF65-F5344CB8AC3E}">
        <p14:creationId xmlns:p14="http://schemas.microsoft.com/office/powerpoint/2010/main" val="246718991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C Blank Slide (Style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68" y="6010729"/>
            <a:ext cx="2074333" cy="654051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</p:spTree>
    <p:extLst>
      <p:ext uri="{BB962C8B-B14F-4D97-AF65-F5344CB8AC3E}">
        <p14:creationId xmlns:p14="http://schemas.microsoft.com/office/powerpoint/2010/main" val="1036639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HC Titl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1390608" y="3328654"/>
            <a:ext cx="10801392" cy="3529349"/>
          </a:xfrm>
        </p:spPr>
        <p:txBody>
          <a:bodyPr lIns="360000" anchor="ctr"/>
          <a:lstStyle>
            <a:lvl1pPr marL="0" indent="0" algn="l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section image here &gt;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592345" y="1453825"/>
            <a:ext cx="8204819" cy="42404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8797163" y="1948915"/>
            <a:ext cx="2861152" cy="27055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r">
              <a:buFontTx/>
              <a:buNone/>
              <a:defRPr sz="1400" b="0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92345" y="1862226"/>
            <a:ext cx="8204819" cy="389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GB" sz="2000" b="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7202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57202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7202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2408512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408512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2408512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0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425477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425477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425477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3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091261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091261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6091261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592347" y="0"/>
            <a:ext cx="3558037" cy="255181"/>
          </a:xfrm>
        </p:spPr>
        <p:txBody>
          <a:bodyPr tIns="46800">
            <a:noAutofit/>
          </a:bodyPr>
          <a:lstStyle>
            <a:lvl1pPr marL="0" indent="0" algn="ctr">
              <a:buFontTx/>
              <a:buNone/>
              <a:defRPr sz="1000" b="0" i="0" baseline="0">
                <a:solidFill>
                  <a:schemeClr val="bg1"/>
                </a:solidFill>
                <a:latin typeface="+mn-lt"/>
                <a:cs typeface="Myriad Pro"/>
              </a:defRPr>
            </a:lvl1pPr>
          </a:lstStyle>
          <a:p>
            <a:pPr lvl="0"/>
            <a:r>
              <a:rPr lang="en-GB"/>
              <a:t>Enter sector name here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485EB82-7006-45E1-8763-0ECE8543CC55}"/>
              </a:ext>
            </a:extLst>
          </p:cNvPr>
          <p:cNvGrpSpPr/>
          <p:nvPr userDrawn="1"/>
        </p:nvGrpSpPr>
        <p:grpSpPr>
          <a:xfrm>
            <a:off x="10287002" y="228601"/>
            <a:ext cx="1599503" cy="459745"/>
            <a:chOff x="10058400" y="255974"/>
            <a:chExt cx="1828103" cy="525451"/>
          </a:xfrm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1C4A2591-B52F-41B0-9612-42AD99EEE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2033" y="263293"/>
              <a:ext cx="263458" cy="247356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84C947E-3710-44C3-9222-0C68817AF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9460" y="263293"/>
              <a:ext cx="266385" cy="247356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79CD5FD9-D854-44F3-A5BB-8930F890C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90396" y="258560"/>
              <a:ext cx="311758" cy="247356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F00DCC1-59A4-4B69-BEAF-FF7AF7F565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16719" y="263293"/>
              <a:ext cx="65864" cy="247356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3" name="Freeform 31">
              <a:extLst>
                <a:ext uri="{FF2B5EF4-FFF2-40B4-BE49-F238E27FC236}">
                  <a16:creationId xmlns:a16="http://schemas.microsoft.com/office/drawing/2014/main" id="{352DC714-07BD-485C-AD90-DE5E5E7C6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5492" y="263293"/>
              <a:ext cx="263458" cy="247356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A4F3F82-BEA1-4D7A-B8A3-FB9C03AB6D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90178" y="263293"/>
              <a:ext cx="65864" cy="247356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5" name="Freeform 35">
              <a:extLst>
                <a:ext uri="{FF2B5EF4-FFF2-40B4-BE49-F238E27FC236}">
                  <a16:creationId xmlns:a16="http://schemas.microsoft.com/office/drawing/2014/main" id="{DADF9213-FF99-4C73-B9E3-AAC94B10D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812" y="255974"/>
              <a:ext cx="279558" cy="260530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E2ECA817-8B03-4B57-894D-999A1A5C3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8400" y="579441"/>
              <a:ext cx="60010" cy="156610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76878C80-DFE9-4224-B0C3-3F6C41CEA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0611" y="624814"/>
              <a:ext cx="122947" cy="111237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8" name="Freeform 22">
              <a:extLst>
                <a:ext uri="{FF2B5EF4-FFF2-40B4-BE49-F238E27FC236}">
                  <a16:creationId xmlns:a16="http://schemas.microsoft.com/office/drawing/2014/main" id="{38C5F33E-6455-4C54-96C8-8E2A7AA12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7221" y="626278"/>
              <a:ext cx="83429" cy="111237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9" name="Freeform 24">
              <a:extLst>
                <a:ext uri="{FF2B5EF4-FFF2-40B4-BE49-F238E27FC236}">
                  <a16:creationId xmlns:a16="http://schemas.microsoft.com/office/drawing/2014/main" id="{86C31709-18D9-43BF-8C1E-15F7BED3E2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5286" y="624814"/>
              <a:ext cx="127337" cy="156611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0" name="Freeform 40">
              <a:extLst>
                <a:ext uri="{FF2B5EF4-FFF2-40B4-BE49-F238E27FC236}">
                  <a16:creationId xmlns:a16="http://schemas.microsoft.com/office/drawing/2014/main" id="{6D58541C-EACD-4594-B6A2-50493D91B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3115" y="624814"/>
              <a:ext cx="48301" cy="111237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3C1D8DF3-7729-4878-84F3-F2ADE3331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215" y="579441"/>
              <a:ext cx="36591" cy="33664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2" name="Freeform 31">
              <a:extLst>
                <a:ext uri="{FF2B5EF4-FFF2-40B4-BE49-F238E27FC236}">
                  <a16:creationId xmlns:a16="http://schemas.microsoft.com/office/drawing/2014/main" id="{E67A582C-98A7-4CF5-A53D-A35FC1B32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225" y="624814"/>
              <a:ext cx="95138" cy="111237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B2FE1875-0CCB-48AF-8033-32D3DB248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7535" y="626278"/>
              <a:ext cx="105383" cy="111237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4" name="Freeform 36">
              <a:extLst>
                <a:ext uri="{FF2B5EF4-FFF2-40B4-BE49-F238E27FC236}">
                  <a16:creationId xmlns:a16="http://schemas.microsoft.com/office/drawing/2014/main" id="{D2BBA170-7D37-402B-B973-E85C79968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1484" y="575050"/>
              <a:ext cx="122947" cy="161002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5" name="Freeform 38">
              <a:extLst>
                <a:ext uri="{FF2B5EF4-FFF2-40B4-BE49-F238E27FC236}">
                  <a16:creationId xmlns:a16="http://schemas.microsoft.com/office/drawing/2014/main" id="{0420F215-A675-4769-BD58-C72C83E5EF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2240" y="626278"/>
              <a:ext cx="105383" cy="111237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6" name="Freeform 41">
              <a:extLst>
                <a:ext uri="{FF2B5EF4-FFF2-40B4-BE49-F238E27FC236}">
                  <a16:creationId xmlns:a16="http://schemas.microsoft.com/office/drawing/2014/main" id="{60E62FC0-B48B-43F2-A7BE-8F9064459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6347" y="595541"/>
              <a:ext cx="81965" cy="141975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7" name="Freeform 43">
              <a:extLst>
                <a:ext uri="{FF2B5EF4-FFF2-40B4-BE49-F238E27FC236}">
                  <a16:creationId xmlns:a16="http://schemas.microsoft.com/office/drawing/2014/main" id="{5846689F-3057-4703-ADE7-8897203FF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2269" y="582369"/>
              <a:ext cx="177102" cy="153683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8" name="Freeform 49">
              <a:extLst>
                <a:ext uri="{FF2B5EF4-FFF2-40B4-BE49-F238E27FC236}">
                  <a16:creationId xmlns:a16="http://schemas.microsoft.com/office/drawing/2014/main" id="{3A52355E-076D-4690-9976-A955E3CA6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7181" y="626278"/>
              <a:ext cx="103920" cy="111237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9" name="Freeform 48">
              <a:extLst>
                <a:ext uri="{FF2B5EF4-FFF2-40B4-BE49-F238E27FC236}">
                  <a16:creationId xmlns:a16="http://schemas.microsoft.com/office/drawing/2014/main" id="{D8C37692-EC28-48C6-8FD5-415838EE7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4538" y="595541"/>
              <a:ext cx="81965" cy="141975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0" name="Freeform 50">
              <a:extLst>
                <a:ext uri="{FF2B5EF4-FFF2-40B4-BE49-F238E27FC236}">
                  <a16:creationId xmlns:a16="http://schemas.microsoft.com/office/drawing/2014/main" id="{71CBDF59-6625-442D-80A5-FCDE9EB54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4028" y="627741"/>
              <a:ext cx="130265" cy="108310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1" name="Freeform 52">
              <a:extLst>
                <a:ext uri="{FF2B5EF4-FFF2-40B4-BE49-F238E27FC236}">
                  <a16:creationId xmlns:a16="http://schemas.microsoft.com/office/drawing/2014/main" id="{1BEEA7E4-3B3E-4C6B-8819-6EB4A7AF3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1365" y="551631"/>
              <a:ext cx="70255" cy="43910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855779C-8DBA-4E15-81A8-BDC1A023100B}"/>
              </a:ext>
            </a:extLst>
          </p:cNvPr>
          <p:cNvGrpSpPr/>
          <p:nvPr userDrawn="1"/>
        </p:nvGrpSpPr>
        <p:grpSpPr>
          <a:xfrm>
            <a:off x="2" y="811621"/>
            <a:ext cx="12195079" cy="77679"/>
            <a:chOff x="-3079" y="1"/>
            <a:chExt cx="12195079" cy="98904"/>
          </a:xfrm>
        </p:grpSpPr>
        <p:sp>
          <p:nvSpPr>
            <p:cNvPr id="83" name="正方形/長方形 11">
              <a:extLst>
                <a:ext uri="{FF2B5EF4-FFF2-40B4-BE49-F238E27FC236}">
                  <a16:creationId xmlns:a16="http://schemas.microsoft.com/office/drawing/2014/main" id="{ADF31DBC-CE94-4BE9-BAEB-95E0A081C39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077" y="1"/>
              <a:ext cx="12195077" cy="9890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84" name="正方形/長方形 74">
              <a:extLst>
                <a:ext uri="{FF2B5EF4-FFF2-40B4-BE49-F238E27FC236}">
                  <a16:creationId xmlns:a16="http://schemas.microsoft.com/office/drawing/2014/main" id="{4B1D5771-E8ED-4193-80BE-E317D5EA722E}"/>
                </a:ext>
              </a:extLst>
            </p:cNvPr>
            <p:cNvSpPr/>
            <p:nvPr/>
          </p:nvSpPr>
          <p:spPr bwMode="gray">
            <a:xfrm>
              <a:off x="-3079" y="1"/>
              <a:ext cx="1758301" cy="98904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正方形/長方形 75">
              <a:extLst>
                <a:ext uri="{FF2B5EF4-FFF2-40B4-BE49-F238E27FC236}">
                  <a16:creationId xmlns:a16="http://schemas.microsoft.com/office/drawing/2014/main" id="{D1374088-0B37-4657-98AE-C4F42F1C730F}"/>
                </a:ext>
              </a:extLst>
            </p:cNvPr>
            <p:cNvSpPr/>
            <p:nvPr/>
          </p:nvSpPr>
          <p:spPr bwMode="gray">
            <a:xfrm>
              <a:off x="-3079" y="1"/>
              <a:ext cx="639893" cy="98904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829607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0"/>
            <a:ext cx="8644128" cy="6858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975360"/>
            <a:ext cx="8644128" cy="6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aseline="0"/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06917" y="1600200"/>
            <a:ext cx="5718048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834783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20A72-72EC-46D6-ADB1-69A302C2CBF8}" type="datetimeFigureOut">
              <a:rPr lang="en-AU" smtClean="0"/>
              <a:t>1/2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D0DD57-A473-4224-97FB-85E7278CEE16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81326218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ith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442" y="1"/>
            <a:ext cx="8929439" cy="683172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620632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008334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41486" y="2165046"/>
            <a:ext cx="11309028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2/1/22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4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36525">
              <a:lnSpc>
                <a:spcPts val="1650"/>
              </a:lnSpc>
            </a:pPr>
            <a:fld id="{81D60167-4931-47E6-BA6A-407CBD079E47}" type="slidenum">
              <a:rPr lang="en-GB" smtClean="0"/>
              <a:pPr marL="136525">
                <a:lnSpc>
                  <a:spcPts val="1650"/>
                </a:lnSpc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65888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2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84AFD2-A143-4CC9-98BB-04DD513A7F39}"/>
              </a:ext>
            </a:extLst>
          </p:cNvPr>
          <p:cNvSpPr/>
          <p:nvPr userDrawn="1"/>
        </p:nvSpPr>
        <p:spPr>
          <a:xfrm>
            <a:off x="6693498" y="0"/>
            <a:ext cx="5498503" cy="6858000"/>
          </a:xfrm>
          <a:prstGeom prst="rect">
            <a:avLst/>
          </a:prstGeom>
          <a:gradFill>
            <a:gsLst>
              <a:gs pos="0">
                <a:srgbClr val="000519"/>
              </a:gs>
              <a:gs pos="51300">
                <a:srgbClr val="011635"/>
              </a:gs>
              <a:gs pos="100000">
                <a:srgbClr val="00061C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Picture 36">
            <a:extLst>
              <a:ext uri="{FF2B5EF4-FFF2-40B4-BE49-F238E27FC236}">
                <a16:creationId xmlns:a16="http://schemas.microsoft.com/office/drawing/2014/main" id="{5C8D8DA0-8D1B-438E-8282-C04A1050210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6858000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934894" y="4782519"/>
            <a:ext cx="461166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934894" y="3556221"/>
            <a:ext cx="461166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934894" y="1960592"/>
            <a:ext cx="4611665" cy="9848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6" name="Group 9">
            <a:extLst>
              <a:ext uri="{FF2B5EF4-FFF2-40B4-BE49-F238E27FC236}">
                <a16:creationId xmlns:a16="http://schemas.microsoft.com/office/drawing/2014/main" id="{8989296D-7170-42C4-8A88-679FE8B6F4C1}"/>
              </a:ext>
            </a:extLst>
          </p:cNvPr>
          <p:cNvGrpSpPr>
            <a:grpSpLocks/>
          </p:cNvGrpSpPr>
          <p:nvPr userDrawn="1"/>
        </p:nvGrpSpPr>
        <p:grpSpPr>
          <a:xfrm>
            <a:off x="9631362" y="295448"/>
            <a:ext cx="1915197" cy="547387"/>
            <a:chOff x="10442064" y="193144"/>
            <a:chExt cx="1195200" cy="342857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BB305E9-F3A3-44CB-8105-18F9A83E1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121298C4-B34B-496F-94A6-9EAF50907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554D1A4E-B263-4497-AEDC-15C4E297C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748D8BD-8940-4F6D-B130-8DDD0F54C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2A24C42C-EF18-44C0-9598-DAA2AAA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5EE7EF9-28CC-48BC-B492-10EB9D9E3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B86252D-A02D-4696-9CA5-ADE8CBF68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23C83CBF-9F08-422E-A373-FED5A59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9DCB696C-1FD4-4F79-95B0-D0A60F5FC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E87DFD81-4EE8-4559-A1DD-F75353F7B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62F97CD0-8F28-4E7D-BD58-01B306C55D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4D8D9399-8BA9-4B84-B8C5-00B4A29D1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26536AF-9601-4D71-B176-97AD8736F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43D49A91-2B57-409C-85CA-690F759BF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3" name="Freeform 33">
              <a:extLst>
                <a:ext uri="{FF2B5EF4-FFF2-40B4-BE49-F238E27FC236}">
                  <a16:creationId xmlns:a16="http://schemas.microsoft.com/office/drawing/2014/main" id="{26F07A77-3999-4D79-9B6A-6FADE6439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60832319-67DB-48A5-96FB-54AAE8024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1C1EC265-97D1-4E37-94C3-77BEAFB0A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6" name="Freeform 41">
              <a:extLst>
                <a:ext uri="{FF2B5EF4-FFF2-40B4-BE49-F238E27FC236}">
                  <a16:creationId xmlns:a16="http://schemas.microsoft.com/office/drawing/2014/main" id="{04382C6D-E6CA-43F6-BA84-D552A3BF1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97C461F7-D118-455F-B582-44501E731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EECF614E-72ED-4285-B269-9E242CBA9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7985E08B-C7C5-4EB5-B672-880F69B7D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8BA75A78-1E01-420D-8605-0237BB681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C2D7E264-BB0B-413B-8F57-1E29A0C9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9673501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5207655-88F8-422D-B6DA-37B35CAE727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9" y="-57235"/>
            <a:ext cx="14089589" cy="6915235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7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5C8CBF-0DA7-4D03-A2A5-A0821FBAC38B}"/>
              </a:ext>
            </a:extLst>
          </p:cNvPr>
          <p:cNvSpPr/>
          <p:nvPr userDrawn="1"/>
        </p:nvSpPr>
        <p:spPr>
          <a:xfrm>
            <a:off x="3177" y="2806811"/>
            <a:ext cx="12188824" cy="4051191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55000"/>
                </a:srgbClr>
              </a:gs>
              <a:gs pos="100000">
                <a:srgbClr val="000000">
                  <a:alpha val="3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8624" y="5861891"/>
            <a:ext cx="1089793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8624" y="4762816"/>
            <a:ext cx="10897937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8624" y="3294407"/>
            <a:ext cx="10897937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39" name="Picture 36">
            <a:extLst>
              <a:ext uri="{FF2B5EF4-FFF2-40B4-BE49-F238E27FC236}">
                <a16:creationId xmlns:a16="http://schemas.microsoft.com/office/drawing/2014/main" id="{B9E0F882-9D82-48BB-8508-5E570310CA53}"/>
              </a:ext>
            </a:extLst>
          </p:cNvPr>
          <p:cNvSpPr>
            <a:spLocks/>
          </p:cNvSpPr>
          <p:nvPr userDrawn="1"/>
        </p:nvSpPr>
        <p:spPr>
          <a:xfrm>
            <a:off x="-1" y="2"/>
            <a:ext cx="12192001" cy="1145895"/>
          </a:xfrm>
          <a:prstGeom prst="rect">
            <a:avLst/>
          </a:prstGeom>
          <a:gradFill flip="none" rotWithShape="1">
            <a:gsLst>
              <a:gs pos="0">
                <a:srgbClr val="1F497D">
                  <a:alpha val="40000"/>
                </a:srgbClr>
              </a:gs>
              <a:gs pos="100000">
                <a:srgbClr val="1F497D">
                  <a:alpha val="0"/>
                </a:srgb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354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GB" sz="2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HGPｺﾞｼｯｸE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631BEDA-FF95-4B0E-9765-01CB688B32B1}"/>
              </a:ext>
            </a:extLst>
          </p:cNvPr>
          <p:cNvGrpSpPr/>
          <p:nvPr userDrawn="1"/>
        </p:nvGrpSpPr>
        <p:grpSpPr>
          <a:xfrm>
            <a:off x="9631363" y="295449"/>
            <a:ext cx="1915197" cy="547387"/>
            <a:chOff x="2751138" y="3262313"/>
            <a:chExt cx="4665662" cy="1333500"/>
          </a:xfrm>
          <a:solidFill>
            <a:srgbClr val="FFFFFF"/>
          </a:solidFill>
        </p:grpSpPr>
        <p:sp>
          <p:nvSpPr>
            <p:cNvPr id="11" name="Freeform 1">
              <a:extLst>
                <a:ext uri="{FF2B5EF4-FFF2-40B4-BE49-F238E27FC236}">
                  <a16:creationId xmlns:a16="http://schemas.microsoft.com/office/drawing/2014/main" id="{28826816-EE87-495B-82F6-30A8B6235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2">
              <a:extLst>
                <a:ext uri="{FF2B5EF4-FFF2-40B4-BE49-F238E27FC236}">
                  <a16:creationId xmlns:a16="http://schemas.microsoft.com/office/drawing/2014/main" id="{B178C594-A40C-4AC8-9151-3803FEA3CB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3">
              <a:extLst>
                <a:ext uri="{FF2B5EF4-FFF2-40B4-BE49-F238E27FC236}">
                  <a16:creationId xmlns:a16="http://schemas.microsoft.com/office/drawing/2014/main" id="{EDDC1B1E-DDDE-4C21-9A1B-DC3634EBD3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FB01EF76-C7CE-4B36-9569-B161C7FF8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118BC77-642F-4656-B0EB-0C2963056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1FAED86F-C42D-4CFE-BC79-8596C2806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FAD3BED-44A4-46E1-AE69-F33F4FBD5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21428370-4CFB-4D8F-A8D9-0215DAA65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7914F069-0F4D-4476-B12D-015CE6F7E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1F0506B-D8BE-403D-A60E-104CF2940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D33D27E-6BF1-43C0-AD07-695FCAE0D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12F30732-F82B-4674-ACCA-62F995D0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8BEC718E-314C-4695-AA84-6C282C0A1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9F2351-5EFC-484F-815B-398F31CD6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959BFC36-3832-45B4-8CE8-EC15383E96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D81593FD-B89B-4431-89D6-0CD6D3F44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36EDA422-8C0E-4309-A77B-40EF81FCC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8AFD84B5-761F-4DA3-A5ED-3449BD933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E98B1DC3-6F69-4825-92B4-91C6102B4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24F37235-66EE-4350-9454-D07B2F8B3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6884801B-FBDA-4202-BB88-C4C18427F5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EAF350DF-2433-494E-969C-A445551B2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E9E748F5-83FA-4114-922E-1A8501EB6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rgbClr val="FF00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397239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2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84AFD2-A143-4CC9-98BB-04DD513A7F39}"/>
              </a:ext>
            </a:extLst>
          </p:cNvPr>
          <p:cNvSpPr/>
          <p:nvPr userDrawn="1"/>
        </p:nvSpPr>
        <p:spPr>
          <a:xfrm>
            <a:off x="6693499" y="0"/>
            <a:ext cx="5498503" cy="6858000"/>
          </a:xfrm>
          <a:prstGeom prst="rect">
            <a:avLst/>
          </a:prstGeom>
          <a:gradFill>
            <a:gsLst>
              <a:gs pos="0">
                <a:srgbClr val="000519"/>
              </a:gs>
              <a:gs pos="51300">
                <a:srgbClr val="011635"/>
              </a:gs>
              <a:gs pos="100000">
                <a:srgbClr val="00061C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Picture 36">
            <a:extLst>
              <a:ext uri="{FF2B5EF4-FFF2-40B4-BE49-F238E27FC236}">
                <a16:creationId xmlns:a16="http://schemas.microsoft.com/office/drawing/2014/main" id="{5C8D8DA0-8D1B-438E-8282-C04A1050210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6858000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934896" y="4782519"/>
            <a:ext cx="461166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934896" y="3556222"/>
            <a:ext cx="461166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934896" y="1960592"/>
            <a:ext cx="4611665" cy="9848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6" name="Group 9">
            <a:extLst>
              <a:ext uri="{FF2B5EF4-FFF2-40B4-BE49-F238E27FC236}">
                <a16:creationId xmlns:a16="http://schemas.microsoft.com/office/drawing/2014/main" id="{8989296D-7170-42C4-8A88-679FE8B6F4C1}"/>
              </a:ext>
            </a:extLst>
          </p:cNvPr>
          <p:cNvGrpSpPr>
            <a:grpSpLocks/>
          </p:cNvGrpSpPr>
          <p:nvPr userDrawn="1"/>
        </p:nvGrpSpPr>
        <p:grpSpPr>
          <a:xfrm>
            <a:off x="9631363" y="295449"/>
            <a:ext cx="1915197" cy="547387"/>
            <a:chOff x="10442064" y="193144"/>
            <a:chExt cx="1195200" cy="342857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BB305E9-F3A3-44CB-8105-18F9A83E1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121298C4-B34B-496F-94A6-9EAF50907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554D1A4E-B263-4497-AEDC-15C4E297C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748D8BD-8940-4F6D-B130-8DDD0F54C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2A24C42C-EF18-44C0-9598-DAA2AAA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5EE7EF9-28CC-48BC-B492-10EB9D9E3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B86252D-A02D-4696-9CA5-ADE8CBF68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23C83CBF-9F08-422E-A373-FED5A59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9DCB696C-1FD4-4F79-95B0-D0A60F5FC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E87DFD81-4EE8-4559-A1DD-F75353F7B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62F97CD0-8F28-4E7D-BD58-01B306C55D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4D8D9399-8BA9-4B84-B8C5-00B4A29D1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26536AF-9601-4D71-B176-97AD8736F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43D49A91-2B57-409C-85CA-690F759BF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3" name="Freeform 33">
              <a:extLst>
                <a:ext uri="{FF2B5EF4-FFF2-40B4-BE49-F238E27FC236}">
                  <a16:creationId xmlns:a16="http://schemas.microsoft.com/office/drawing/2014/main" id="{26F07A77-3999-4D79-9B6A-6FADE6439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60832319-67DB-48A5-96FB-54AAE8024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1C1EC265-97D1-4E37-94C3-77BEAFB0A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6" name="Freeform 41">
              <a:extLst>
                <a:ext uri="{FF2B5EF4-FFF2-40B4-BE49-F238E27FC236}">
                  <a16:creationId xmlns:a16="http://schemas.microsoft.com/office/drawing/2014/main" id="{04382C6D-E6CA-43F6-BA84-D552A3BF1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97C461F7-D118-455F-B582-44501E731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EECF614E-72ED-4285-B269-9E242CBA9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7985E08B-C7C5-4EB5-B672-880F69B7D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8BA75A78-1E01-420D-8605-0237BB681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C2D7E264-BB0B-413B-8F57-1E29A0C9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228707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5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655D27C4-7AE5-42A4-9F14-75B5DFB7B06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9173" y="727481"/>
            <a:ext cx="9638075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70DACEC3-56E4-4ECA-938E-A0FFA51B5A8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257CA2-605F-EB46-BCC1-690AA4CA4151}"/>
              </a:ext>
            </a:extLst>
          </p:cNvPr>
          <p:cNvSpPr txBox="1"/>
          <p:nvPr userDrawn="1"/>
        </p:nvSpPr>
        <p:spPr>
          <a:xfrm>
            <a:off x="10341864" y="655624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04733062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4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644CC54F-ADA2-4EB4-A84F-CC5C5E7A9F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06566"/>
            <a:ext cx="3813048" cy="553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753E4D82-0260-497C-82C7-785EC0A360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0495328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21322DD-B6C1-4397-8AE9-EAEE4FAECBA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098143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39FA7C6F-53DA-49ED-98FC-887B92699DA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557770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9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44B92A2-C1B0-4AC9-A7C0-53DEFFC614B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688193"/>
            <a:ext cx="110825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1E5EECD-623E-48AC-AE54-4409675F3B2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4724096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A300DB1-655A-4B10-87CE-7FEB7C3799D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505712" y="3694730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“Click to add quot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8439C94-2B41-43AD-B19D-BF30E38113F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505712" y="4284633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GB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5C114D3-9D44-48F1-863C-013FB4D60AD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9192593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E1A0B62-2B6C-4FF9-A975-9BA0332492A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2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01A8AA77-6173-4971-9FD5-1DF82105AEB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61CAC2-B39D-4E86-A2F1-D28DD7307E28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DB2C2E02-8C1A-47C7-8530-05E6E1CEDA4C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74117F41-B002-47E4-A926-D4F67357ED0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0244106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6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8" y="6498757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024CA71C-CCFC-4B02-A497-BECC718A6C1D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2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F946D0E6-3878-4303-AC37-349BD3D79C8E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DF26D2C-DD00-4C21-8464-B15BFF99E7F3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90253C0C-7AFB-4123-B14B-F667C295884F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C50CEB0-070E-4A14-A051-2F64950B1139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3674585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DCA687EF-EF5B-4022-A09F-5B2A8396F42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81"/>
            <a:ext cx="5065776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16BFDB67-225B-4C3A-9716-C62432E4963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2CE331-91FA-4A64-BCCF-0526B3CAE3CB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E4F47CC9-851E-42CE-8780-F210BECDDABE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A74329D3-F232-4743-B989-95CF817A7A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183096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655D27C4-7AE5-42A4-9F14-75B5DFB7B06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9173" y="727479"/>
            <a:ext cx="9638075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70DACEC3-56E4-4ECA-938E-A0FFA51B5A8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39AEB18-AEBB-CF48-B90A-147167415BFF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974294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17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81"/>
            <a:ext cx="69677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2FCAA72-3183-4290-A338-71ED0E818A6D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26247320-66BE-47DC-B3AB-5BF308DA048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F218E96E-7F2B-4412-9C99-DCEDEE1F6F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7907400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noProof="0"/>
              <a:t>Source: …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C00F2727-7798-4387-B10A-510A1587B2A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81"/>
            <a:ext cx="7918704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7" name="図 71" descr="ea60_010_030_dwin.wmf">
            <a:extLst>
              <a:ext uri="{FF2B5EF4-FFF2-40B4-BE49-F238E27FC236}">
                <a16:creationId xmlns:a16="http://schemas.microsoft.com/office/drawing/2014/main" id="{EE739AD0-CA3F-40D4-84F5-356C36A17007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4C71863-F328-4C87-9B4A-6C4870F48A93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EC0D836F-68FF-4058-B4D6-C0223329F5A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F032DEAC-7D7B-42D8-8AEE-5F531F2ACC3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5896312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pic>
        <p:nvPicPr>
          <p:cNvPr id="30" name="図 71" descr="ea60_010_030_dwin.wmf">
            <a:extLst>
              <a:ext uri="{FF2B5EF4-FFF2-40B4-BE49-F238E27FC236}">
                <a16:creationId xmlns:a16="http://schemas.microsoft.com/office/drawing/2014/main" id="{0483EF94-44AB-410C-8E53-97AD125BC026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0980" y="2939895"/>
            <a:ext cx="3410045" cy="97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83111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4658247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89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4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A1D57C39-052D-4D97-BF5C-F877BAC7929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602495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808080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2FDE84AE-E1A5-48AE-ADE3-598E7428DA1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76F8E8-FFE2-4E36-AA9E-7A1A6D26276A}"/>
              </a:ext>
            </a:extLst>
          </p:cNvPr>
          <p:cNvSpPr txBox="1"/>
          <p:nvPr userDrawn="1"/>
        </p:nvSpPr>
        <p:spPr>
          <a:xfrm>
            <a:off x="9384308" y="6498757"/>
            <a:ext cx="19043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/>
              <a:t>© Hitachi, Ltd. 2020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74184700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26735"/>
            <a:ext cx="11082528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7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2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448203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906044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26734"/>
            <a:ext cx="11082528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9126716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1345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26734"/>
            <a:ext cx="11082528" cy="276999"/>
          </a:xfrm>
        </p:spPr>
        <p:txBody>
          <a:bodyPr/>
          <a:lstStyle>
            <a:lvl1pPr>
              <a:defRPr>
                <a:latin typeface="Bahnschrift SemiBold" panose="020B05020402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Bahnschrift Light" panose="020B0502040204020203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8723878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57874-8D75-446D-8DCB-B8F5F0126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47E704-5762-41D1-B23D-5842777A1A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98F0E9-14DA-4AEE-B275-A46564BA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377">
              <a:defRPr/>
            </a:pPr>
            <a:fld id="{3084A774-2E75-4989-99B0-C6C738950AE9}" type="datetimeFigureOut">
              <a:rPr lang="en-GB" smtClean="0">
                <a:solidFill>
                  <a:srgbClr val="000000"/>
                </a:solidFill>
              </a:rPr>
              <a:pPr defTabSz="914377">
                <a:defRPr/>
              </a:pPr>
              <a:t>01/02/2022</a:t>
            </a:fld>
            <a:endParaRPr lang="en-GB">
              <a:solidFill>
                <a:srgbClr val="000000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DAD25C-BB48-4148-929A-7BC49924A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377"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9B6A87-7D84-4C37-A5CE-40649F237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377">
              <a:defRPr/>
            </a:pPr>
            <a:fld id="{60D130E1-1364-465D-B4CD-95525F0457E4}" type="slidenum">
              <a:rPr lang="en-GB" smtClean="0">
                <a:solidFill>
                  <a:srgbClr val="000000"/>
                </a:solidFill>
              </a:rPr>
              <a:pPr defTabSz="914377">
                <a:defRPr/>
              </a:pPr>
              <a:t>‹#›</a:t>
            </a:fld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206307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914400" y="3323452"/>
            <a:ext cx="10363200" cy="276999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4CFC-4FB7-9446-A39A-7BE91C676236}" type="datetimeFigureOut">
              <a:rPr kumimoji="1" lang="ja-JP" altLang="en-US" smtClean="0"/>
              <a:t>2022/2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54F9-42B6-7540-AD90-C5DA6764E1B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822133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644CC54F-ADA2-4EB4-A84F-CC5C5E7A9F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06564"/>
            <a:ext cx="381304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753E4D82-0260-497C-82C7-785EC0A360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931EFE6-8D84-CE42-BBA4-694B1D00F5E3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63029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21322DD-B6C1-4397-8AE9-EAEE4FAECBA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098142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39FA7C6F-53DA-49ED-98FC-887B92699DA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A67FC73-03D0-7F4F-B70F-038FB930379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6712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44B92A2-C1B0-4AC9-A7C0-53DEFFC614B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688191"/>
            <a:ext cx="110825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1E5EECD-623E-48AC-AE54-4409675F3B2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0043D4-13A6-B64D-9B12-530FD36F62E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9660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A300DB1-655A-4B10-87CE-7FEB7C3799D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505712" y="3694729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“Click to add quot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8439C94-2B41-43AD-B19D-BF30E38113F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505712" y="4284631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GB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5C114D3-9D44-48F1-863C-013FB4D60AD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FABB52-0239-B246-ADD3-6B09549FE94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78871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E1A0B62-2B6C-4FF9-A975-9BA0332492A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0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01A8AA77-6173-4971-9FD5-1DF82105AEB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61CAC2-B39D-4E86-A2F1-D28DD7307E28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DB2C2E02-8C1A-47C7-8530-05E6E1CEDA4C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74117F41-B002-47E4-A926-D4F67357ED0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CEB804B-3270-FE41-9DC1-62677F846E70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655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4F7821-609A-439A-A35C-FA7FACF7C2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46C2BA6-35BC-4794-9095-3ED61D2201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12FAA0-88EE-4D89-8EA2-31AC81CDC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C1593E-A5E6-437C-846B-D49F5A5AE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9A5E10-A056-42C0-A777-009B648C8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758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498755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024CA71C-CCFC-4B02-A497-BECC718A6C1D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F946D0E6-3878-4303-AC37-349BD3D79C8E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DF26D2C-DD00-4C21-8464-B15BFF99E7F3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90253C0C-7AFB-4123-B14B-F667C295884F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C50CEB0-070E-4A14-A051-2F64950B1139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AC400D4-28FF-CC4A-A76D-094513D18B35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3821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DCA687EF-EF5B-4022-A09F-5B2A8396F42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5065776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16BFDB67-225B-4C3A-9716-C62432E4963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2CE331-91FA-4A64-BCCF-0526B3CAE3CB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E4F47CC9-851E-42CE-8780-F210BECDDABE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A74329D3-F232-4743-B989-95CF817A7A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234941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69677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2FCAA72-3183-4290-A338-71ED0E818A6D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26247320-66BE-47DC-B3AB-5BF308DA048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F218E96E-7F2B-4412-9C99-DCEDEE1F6F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703348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noProof="0"/>
              <a:t>Source: …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C00F2727-7798-4387-B10A-510A1587B2A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7918704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7" name="図 71" descr="ea60_010_030_dwin.wmf">
            <a:extLst>
              <a:ext uri="{FF2B5EF4-FFF2-40B4-BE49-F238E27FC236}">
                <a16:creationId xmlns:a16="http://schemas.microsoft.com/office/drawing/2014/main" id="{EE739AD0-CA3F-40D4-84F5-356C36A17007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4C71863-F328-4C87-9B4A-6C4870F48A93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EC0D836F-68FF-4058-B4D6-C0223329F5A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F032DEAC-7D7B-42D8-8AEE-5F531F2ACC3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256764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pic>
        <p:nvPicPr>
          <p:cNvPr id="30" name="図 71" descr="ea60_010_030_dwin.wmf">
            <a:extLst>
              <a:ext uri="{FF2B5EF4-FFF2-40B4-BE49-F238E27FC236}">
                <a16:creationId xmlns:a16="http://schemas.microsoft.com/office/drawing/2014/main" id="{0483EF94-44AB-410C-8E53-97AD125BC026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0979" y="2939895"/>
            <a:ext cx="3410045" cy="97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5020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CBA5374-ED95-E048-A7AB-C82B9932FC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0682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3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A1D57C39-052D-4D97-BF5C-F877BAC7929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602494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808080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2FDE84AE-E1A5-48AE-ADE3-598E7428DA1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76F8E8-FFE2-4E36-AA9E-7A1A6D26276A}"/>
              </a:ext>
            </a:extLst>
          </p:cNvPr>
          <p:cNvSpPr txBox="1"/>
          <p:nvPr userDrawn="1"/>
        </p:nvSpPr>
        <p:spPr>
          <a:xfrm>
            <a:off x="9611933" y="6498755"/>
            <a:ext cx="1676741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/>
              <a:t>© Hitachi, Ltd. 2020. All Rights Reserv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672A09E-D118-3C46-8D2E-42DCFA1E3238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26015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26734"/>
            <a:ext cx="11082528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CB69877-24AA-564E-8392-B0F57323C475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80127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822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2E49341-FFE0-8F4B-A1C6-5BD4C8FC1736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8908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091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3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Bahnschrift SemiBold" panose="020B05020402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Bahnschrift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6DAE0A4-3DC4-E44B-9535-D3818E68B06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86793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344CA5-5E56-411E-9B9E-6318529905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8C3002-7CFB-4E06-823F-F41FF51CEB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7EA754-3BEC-4739-A9EC-895FDC8189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761BD0-8D48-4CDE-A184-84755D809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42B6D3-27FC-4E6A-A10D-39682C517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5994894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5207655-88F8-422D-B6DA-37B35CAE727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8" y="-57235"/>
            <a:ext cx="14089589" cy="6915235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5C8CBF-0DA7-4D03-A2A5-A0821FBAC38B}"/>
              </a:ext>
            </a:extLst>
          </p:cNvPr>
          <p:cNvSpPr/>
          <p:nvPr userDrawn="1"/>
        </p:nvSpPr>
        <p:spPr>
          <a:xfrm>
            <a:off x="3177" y="2806810"/>
            <a:ext cx="12188824" cy="4051191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55000"/>
                </a:srgbClr>
              </a:gs>
              <a:gs pos="100000">
                <a:srgbClr val="000000">
                  <a:alpha val="3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8622" y="5861891"/>
            <a:ext cx="1089793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8622" y="4762814"/>
            <a:ext cx="10897937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8622" y="3294406"/>
            <a:ext cx="10897937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39" name="Picture 36">
            <a:extLst>
              <a:ext uri="{FF2B5EF4-FFF2-40B4-BE49-F238E27FC236}">
                <a16:creationId xmlns:a16="http://schemas.microsoft.com/office/drawing/2014/main" id="{B9E0F882-9D82-48BB-8508-5E570310CA53}"/>
              </a:ext>
            </a:extLst>
          </p:cNvPr>
          <p:cNvSpPr>
            <a:spLocks/>
          </p:cNvSpPr>
          <p:nvPr userDrawn="1"/>
        </p:nvSpPr>
        <p:spPr>
          <a:xfrm>
            <a:off x="-1" y="1"/>
            <a:ext cx="12192001" cy="1145895"/>
          </a:xfrm>
          <a:prstGeom prst="rect">
            <a:avLst/>
          </a:prstGeom>
          <a:gradFill flip="none" rotWithShape="1">
            <a:gsLst>
              <a:gs pos="0">
                <a:srgbClr val="1F497D">
                  <a:alpha val="40000"/>
                </a:srgbClr>
              </a:gs>
              <a:gs pos="100000">
                <a:srgbClr val="1F497D">
                  <a:alpha val="0"/>
                </a:srgb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377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GB" sz="2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HGPｺﾞｼｯｸE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631BEDA-FF95-4B0E-9765-01CB688B32B1}"/>
              </a:ext>
            </a:extLst>
          </p:cNvPr>
          <p:cNvGrpSpPr/>
          <p:nvPr userDrawn="1"/>
        </p:nvGrpSpPr>
        <p:grpSpPr>
          <a:xfrm>
            <a:off x="9631362" y="295448"/>
            <a:ext cx="1915197" cy="547387"/>
            <a:chOff x="2751138" y="3262313"/>
            <a:chExt cx="4665662" cy="1333500"/>
          </a:xfrm>
          <a:solidFill>
            <a:srgbClr val="FFFFFF"/>
          </a:solidFill>
        </p:grpSpPr>
        <p:sp>
          <p:nvSpPr>
            <p:cNvPr id="11" name="Freeform 1">
              <a:extLst>
                <a:ext uri="{FF2B5EF4-FFF2-40B4-BE49-F238E27FC236}">
                  <a16:creationId xmlns:a16="http://schemas.microsoft.com/office/drawing/2014/main" id="{28826816-EE87-495B-82F6-30A8B6235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2">
              <a:extLst>
                <a:ext uri="{FF2B5EF4-FFF2-40B4-BE49-F238E27FC236}">
                  <a16:creationId xmlns:a16="http://schemas.microsoft.com/office/drawing/2014/main" id="{B178C594-A40C-4AC8-9151-3803FEA3CB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3">
              <a:extLst>
                <a:ext uri="{FF2B5EF4-FFF2-40B4-BE49-F238E27FC236}">
                  <a16:creationId xmlns:a16="http://schemas.microsoft.com/office/drawing/2014/main" id="{EDDC1B1E-DDDE-4C21-9A1B-DC3634EBD3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FB01EF76-C7CE-4B36-9569-B161C7FF8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118BC77-642F-4656-B0EB-0C2963056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1FAED86F-C42D-4CFE-BC79-8596C2806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FAD3BED-44A4-46E1-AE69-F33F4FBD5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21428370-4CFB-4D8F-A8D9-0215DAA65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7914F069-0F4D-4476-B12D-015CE6F7E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1F0506B-D8BE-403D-A60E-104CF2940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D33D27E-6BF1-43C0-AD07-695FCAE0D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12F30732-F82B-4674-ACCA-62F995D0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8BEC718E-314C-4695-AA84-6C282C0A1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9F2351-5EFC-484F-815B-398F31CD6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959BFC36-3832-45B4-8CE8-EC15383E96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D81593FD-B89B-4431-89D6-0CD6D3F44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36EDA422-8C0E-4309-A77B-40EF81FCC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8AFD84B5-761F-4DA3-A5ED-3449BD933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E98B1DC3-6F69-4825-92B4-91C6102B4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24F37235-66EE-4350-9454-D07B2F8B3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6884801B-FBDA-4202-BB88-C4C18427F5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EAF350DF-2433-494E-969C-A445551B2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E9E748F5-83FA-4114-922E-1A8501EB6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rgbClr val="FF0026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19701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2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84AFD2-A143-4CC9-98BB-04DD513A7F39}"/>
              </a:ext>
            </a:extLst>
          </p:cNvPr>
          <p:cNvSpPr/>
          <p:nvPr userDrawn="1"/>
        </p:nvSpPr>
        <p:spPr>
          <a:xfrm>
            <a:off x="6693498" y="0"/>
            <a:ext cx="5498503" cy="6858000"/>
          </a:xfrm>
          <a:prstGeom prst="rect">
            <a:avLst/>
          </a:prstGeom>
          <a:gradFill>
            <a:gsLst>
              <a:gs pos="0">
                <a:srgbClr val="000519"/>
              </a:gs>
              <a:gs pos="51300">
                <a:srgbClr val="011635"/>
              </a:gs>
              <a:gs pos="100000">
                <a:srgbClr val="00061C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Picture 36">
            <a:extLst>
              <a:ext uri="{FF2B5EF4-FFF2-40B4-BE49-F238E27FC236}">
                <a16:creationId xmlns:a16="http://schemas.microsoft.com/office/drawing/2014/main" id="{5C8D8DA0-8D1B-438E-8282-C04A1050210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6858000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934894" y="4782519"/>
            <a:ext cx="461166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934894" y="3556221"/>
            <a:ext cx="461166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934894" y="1960592"/>
            <a:ext cx="4611665" cy="9848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6" name="Group 9">
            <a:extLst>
              <a:ext uri="{FF2B5EF4-FFF2-40B4-BE49-F238E27FC236}">
                <a16:creationId xmlns:a16="http://schemas.microsoft.com/office/drawing/2014/main" id="{8989296D-7170-42C4-8A88-679FE8B6F4C1}"/>
              </a:ext>
            </a:extLst>
          </p:cNvPr>
          <p:cNvGrpSpPr>
            <a:grpSpLocks/>
          </p:cNvGrpSpPr>
          <p:nvPr userDrawn="1"/>
        </p:nvGrpSpPr>
        <p:grpSpPr>
          <a:xfrm>
            <a:off x="9631362" y="295448"/>
            <a:ext cx="1915197" cy="547387"/>
            <a:chOff x="10442064" y="193144"/>
            <a:chExt cx="1195200" cy="342857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BB305E9-F3A3-44CB-8105-18F9A83E1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121298C4-B34B-496F-94A6-9EAF50907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554D1A4E-B263-4497-AEDC-15C4E297C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748D8BD-8940-4F6D-B130-8DDD0F54C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2A24C42C-EF18-44C0-9598-DAA2AAA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5EE7EF9-28CC-48BC-B492-10EB9D9E3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B86252D-A02D-4696-9CA5-ADE8CBF68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23C83CBF-9F08-422E-A373-FED5A59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9DCB696C-1FD4-4F79-95B0-D0A60F5FC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E87DFD81-4EE8-4559-A1DD-F75353F7B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62F97CD0-8F28-4E7D-BD58-01B306C55D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4D8D9399-8BA9-4B84-B8C5-00B4A29D1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26536AF-9601-4D71-B176-97AD8736F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43D49A91-2B57-409C-85CA-690F759BF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3" name="Freeform 33">
              <a:extLst>
                <a:ext uri="{FF2B5EF4-FFF2-40B4-BE49-F238E27FC236}">
                  <a16:creationId xmlns:a16="http://schemas.microsoft.com/office/drawing/2014/main" id="{26F07A77-3999-4D79-9B6A-6FADE6439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60832319-67DB-48A5-96FB-54AAE8024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1C1EC265-97D1-4E37-94C3-77BEAFB0A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6" name="Freeform 41">
              <a:extLst>
                <a:ext uri="{FF2B5EF4-FFF2-40B4-BE49-F238E27FC236}">
                  <a16:creationId xmlns:a16="http://schemas.microsoft.com/office/drawing/2014/main" id="{04382C6D-E6CA-43F6-BA84-D552A3BF1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97C461F7-D118-455F-B582-44501E731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EECF614E-72ED-4285-B269-9E242CBA9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7985E08B-C7C5-4EB5-B672-880F69B7D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8BA75A78-1E01-420D-8605-0237BB681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C2D7E264-BB0B-413B-8F57-1E29A0C9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94906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655D27C4-7AE5-42A4-9F14-75B5DFB7B06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9173" y="727479"/>
            <a:ext cx="9638075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70DACEC3-56E4-4ECA-938E-A0FFA51B5A8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A706344-1D40-AB46-94CE-C85DB58B76B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612653" y="40086"/>
            <a:ext cx="2463391" cy="565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7236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644CC54F-ADA2-4EB4-A84F-CC5C5E7A9F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06564"/>
            <a:ext cx="381304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753E4D82-0260-497C-82C7-785EC0A360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C09A0E-DA28-4273-96D4-D4BDA3E83965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5028" y="114039"/>
            <a:ext cx="1700131" cy="41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48136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21322DD-B6C1-4397-8AE9-EAEE4FAECBA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098142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39FA7C6F-53DA-49ED-98FC-887B92699DA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99AE95-9F2B-41FC-95BC-0481BC950D5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5028" y="103153"/>
            <a:ext cx="1700131" cy="41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661758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44B92A2-C1B0-4AC9-A7C0-53DEFFC614B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688191"/>
            <a:ext cx="110825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1E5EECD-623E-48AC-AE54-4409675F3B2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CBD0DC-92F6-4BC7-B77F-083DBE70CE4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5028" y="103153"/>
            <a:ext cx="1700131" cy="41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71947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A300DB1-655A-4B10-87CE-7FEB7C3799D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505712" y="3694729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“Click to add quot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8439C94-2B41-43AD-B19D-BF30E38113F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505712" y="4284631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GB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5C114D3-9D44-48F1-863C-013FB4D60AD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D18C470-F73B-485A-B737-9CAC42E6E8F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5028" y="103153"/>
            <a:ext cx="1700131" cy="416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9573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E1A0B62-2B6C-4FF9-A975-9BA0332492A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0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01A8AA77-6173-4971-9FD5-1DF82105AEB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61CAC2-B39D-4E86-A2F1-D28DD7307E28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DB2C2E02-8C1A-47C7-8530-05E6E1CEDA4C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74117F41-B002-47E4-A926-D4F67357ED0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386549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498755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024CA71C-CCFC-4B02-A497-BECC718A6C1D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F946D0E6-3878-4303-AC37-349BD3D79C8E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DF26D2C-DD00-4C21-8464-B15BFF99E7F3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90253C0C-7AFB-4123-B14B-F667C295884F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C50CEB0-070E-4A14-A051-2F64950B1139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153388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DCA687EF-EF5B-4022-A09F-5B2A8396F42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5065776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16BFDB67-225B-4C3A-9716-C62432E4963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2CE331-91FA-4A64-BCCF-0526B3CAE3CB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E4F47CC9-851E-42CE-8780-F210BECDDABE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A74329D3-F232-4743-B989-95CF817A7A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295721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B31FFE-129A-4434-BAC9-D2183BCE06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0ACDD5-2F09-4C3C-A4BA-8D5904AE110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5DFFD0-8E1C-4296-92D4-648BE7E773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F21692F-9189-4F96-9696-3018357303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4FCEBBD-5B59-4282-ACAC-B295D5ABE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C3FDD3D-D15A-4F2E-8E14-69AF919A1B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29755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1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69677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2FCAA72-3183-4290-A338-71ED0E818A6D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26247320-66BE-47DC-B3AB-5BF308DA048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F218E96E-7F2B-4412-9C99-DCEDEE1F6F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5301301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noProof="0"/>
              <a:t>Source: …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C00F2727-7798-4387-B10A-510A1587B2A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7918704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7" name="図 71" descr="ea60_010_030_dwin.wmf">
            <a:extLst>
              <a:ext uri="{FF2B5EF4-FFF2-40B4-BE49-F238E27FC236}">
                <a16:creationId xmlns:a16="http://schemas.microsoft.com/office/drawing/2014/main" id="{EE739AD0-CA3F-40D4-84F5-356C36A17007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4C71863-F328-4C87-9B4A-6C4870F48A93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EC0D836F-68FF-4058-B4D6-C0223329F5A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F032DEAC-7D7B-42D8-8AEE-5F531F2ACC3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478065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pic>
        <p:nvPicPr>
          <p:cNvPr id="30" name="図 71" descr="ea60_010_030_dwin.wmf">
            <a:extLst>
              <a:ext uri="{FF2B5EF4-FFF2-40B4-BE49-F238E27FC236}">
                <a16:creationId xmlns:a16="http://schemas.microsoft.com/office/drawing/2014/main" id="{0483EF94-44AB-410C-8E53-97AD125BC026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0979" y="2939895"/>
            <a:ext cx="3410045" cy="97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70625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30530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3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A1D57C39-052D-4D97-BF5C-F877BAC7929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602494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808080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2FDE84AE-E1A5-48AE-ADE3-598E7428DA1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76F8E8-FFE2-4E36-AA9E-7A1A6D26276A}"/>
              </a:ext>
            </a:extLst>
          </p:cNvPr>
          <p:cNvSpPr txBox="1"/>
          <p:nvPr userDrawn="1"/>
        </p:nvSpPr>
        <p:spPr>
          <a:xfrm>
            <a:off x="9611933" y="6498755"/>
            <a:ext cx="1676741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/>
              <a:t>© Hitachi, Ltd. 2020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586291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26734"/>
            <a:ext cx="11082528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624795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4079496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>
            <a:lvl1pPr>
              <a:defRPr>
                <a:latin typeface="Bahnschrift SemiBold" panose="020B05020402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Bahnschrift Light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409244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図 1" descr="HSI_PG_FINAL LOCKUP_JPN-EN_16-9-02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2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036452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1390608" y="3328654"/>
            <a:ext cx="10801392" cy="3529349"/>
          </a:xfrm>
        </p:spPr>
        <p:txBody>
          <a:bodyPr lIns="360000" anchor="ctr"/>
          <a:lstStyle>
            <a:lvl1pPr marL="0" indent="0" algn="l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section image here &gt;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1407281" y="1453825"/>
            <a:ext cx="7389883" cy="42404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8797163" y="1948915"/>
            <a:ext cx="2861152" cy="27055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r">
              <a:buFontTx/>
              <a:buNone/>
              <a:defRPr sz="1400" b="0" baseline="0">
                <a:solidFill>
                  <a:srgbClr val="4D4D4D"/>
                </a:solidFill>
                <a:latin typeface="+mj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07281" y="1862226"/>
            <a:ext cx="7389883" cy="389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GB" sz="2000" b="0" kern="1200" baseline="0" dirty="0" smtClean="0">
                <a:solidFill>
                  <a:srgbClr val="141313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1437342" y="2657066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1437342" y="2810134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1437342" y="2918779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3273825" y="2657061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3273825" y="2810134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3273825" y="2918779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0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5120091" y="2657066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5120091" y="2810134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5120091" y="2918779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3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956576" y="2657061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956576" y="2810134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6956576" y="2918779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505150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2384697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FEE3A7-AC5C-4F43-B317-96410068CA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AE0CF8-823F-4C52-B716-E16C0C22AD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309EAC7-017B-4FF8-87F9-5976728EF5D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AB38F8-1928-42C6-95D5-97B1CB814DF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030D62E-923D-47FA-BD9B-27D2C945FEC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79323EC-6801-4666-9C14-2280E76504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D8601EF-6CA2-45AB-B1C0-0360A9635C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45413C0-0B58-41E2-9B85-4946743148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9859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C Titl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0" y="1"/>
            <a:ext cx="12192000" cy="6894731"/>
          </a:xfrm>
          <a:prstGeom prst="rect">
            <a:avLst/>
          </a:prstGeom>
        </p:spPr>
      </p:pic>
      <p:grpSp>
        <p:nvGrpSpPr>
          <p:cNvPr id="47" name="Group 46"/>
          <p:cNvGrpSpPr/>
          <p:nvPr userDrawn="1"/>
        </p:nvGrpSpPr>
        <p:grpSpPr>
          <a:xfrm>
            <a:off x="10287002" y="255975"/>
            <a:ext cx="1599503" cy="459745"/>
            <a:chOff x="10058400" y="255974"/>
            <a:chExt cx="1828103" cy="525451"/>
          </a:xfrm>
        </p:grpSpPr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1402033" y="263293"/>
              <a:ext cx="263458" cy="247356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10579460" y="263293"/>
              <a:ext cx="266385" cy="247356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0" name="Freeform 9"/>
            <p:cNvSpPr>
              <a:spLocks noEditPoints="1"/>
            </p:cNvSpPr>
            <p:nvPr/>
          </p:nvSpPr>
          <p:spPr bwMode="auto">
            <a:xfrm>
              <a:off x="10790396" y="258560"/>
              <a:ext cx="311758" cy="247356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1" name="Rectangle 50"/>
            <p:cNvSpPr>
              <a:spLocks noChangeArrowheads="1"/>
            </p:cNvSpPr>
            <p:nvPr/>
          </p:nvSpPr>
          <p:spPr bwMode="auto">
            <a:xfrm>
              <a:off x="11716719" y="263293"/>
              <a:ext cx="65864" cy="247356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10175492" y="263293"/>
              <a:ext cx="263458" cy="247356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3" name="Rectangle 52"/>
            <p:cNvSpPr>
              <a:spLocks noChangeArrowheads="1"/>
            </p:cNvSpPr>
            <p:nvPr/>
          </p:nvSpPr>
          <p:spPr bwMode="auto">
            <a:xfrm>
              <a:off x="10490178" y="263293"/>
              <a:ext cx="65864" cy="247356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11088812" y="255974"/>
              <a:ext cx="279558" cy="260530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10058400" y="579441"/>
              <a:ext cx="60010" cy="156610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10150611" y="624814"/>
              <a:ext cx="122947" cy="111237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7" name="Freeform 22"/>
            <p:cNvSpPr>
              <a:spLocks/>
            </p:cNvSpPr>
            <p:nvPr/>
          </p:nvSpPr>
          <p:spPr bwMode="auto">
            <a:xfrm>
              <a:off x="10307221" y="626278"/>
              <a:ext cx="83429" cy="111237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24"/>
            <p:cNvSpPr>
              <a:spLocks noEditPoints="1"/>
            </p:cNvSpPr>
            <p:nvPr/>
          </p:nvSpPr>
          <p:spPr bwMode="auto">
            <a:xfrm>
              <a:off x="10405286" y="624814"/>
              <a:ext cx="127337" cy="156611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auto">
            <a:xfrm>
              <a:off x="10553115" y="624814"/>
              <a:ext cx="48301" cy="111237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auto">
            <a:xfrm>
              <a:off x="10569215" y="579441"/>
              <a:ext cx="36591" cy="33664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6" name="Freeform 31"/>
            <p:cNvSpPr>
              <a:spLocks/>
            </p:cNvSpPr>
            <p:nvPr/>
          </p:nvSpPr>
          <p:spPr bwMode="auto">
            <a:xfrm>
              <a:off x="10629225" y="624814"/>
              <a:ext cx="95138" cy="111237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7" name="Freeform 33"/>
            <p:cNvSpPr>
              <a:spLocks noEditPoints="1"/>
            </p:cNvSpPr>
            <p:nvPr/>
          </p:nvSpPr>
          <p:spPr bwMode="auto">
            <a:xfrm>
              <a:off x="10737535" y="626278"/>
              <a:ext cx="105383" cy="111237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8" name="Freeform 36"/>
            <p:cNvSpPr>
              <a:spLocks/>
            </p:cNvSpPr>
            <p:nvPr/>
          </p:nvSpPr>
          <p:spPr bwMode="auto">
            <a:xfrm>
              <a:off x="11021484" y="575050"/>
              <a:ext cx="122947" cy="161002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9" name="Freeform 38"/>
            <p:cNvSpPr>
              <a:spLocks noEditPoints="1"/>
            </p:cNvSpPr>
            <p:nvPr/>
          </p:nvSpPr>
          <p:spPr bwMode="auto">
            <a:xfrm>
              <a:off x="11172240" y="626278"/>
              <a:ext cx="105383" cy="111237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90" name="Freeform 41"/>
            <p:cNvSpPr>
              <a:spLocks/>
            </p:cNvSpPr>
            <p:nvPr/>
          </p:nvSpPr>
          <p:spPr bwMode="auto">
            <a:xfrm>
              <a:off x="10926347" y="595541"/>
              <a:ext cx="81965" cy="141975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91" name="Freeform 43"/>
            <p:cNvSpPr>
              <a:spLocks/>
            </p:cNvSpPr>
            <p:nvPr/>
          </p:nvSpPr>
          <p:spPr bwMode="auto">
            <a:xfrm>
              <a:off x="11352269" y="582369"/>
              <a:ext cx="177102" cy="153683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92" name="Freeform 91"/>
            <p:cNvSpPr>
              <a:spLocks noEditPoints="1"/>
            </p:cNvSpPr>
            <p:nvPr/>
          </p:nvSpPr>
          <p:spPr bwMode="auto">
            <a:xfrm>
              <a:off x="11557181" y="626278"/>
              <a:ext cx="103920" cy="111237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11804538" y="595541"/>
              <a:ext cx="81965" cy="141975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94" name="Freeform 50"/>
            <p:cNvSpPr>
              <a:spLocks/>
            </p:cNvSpPr>
            <p:nvPr/>
          </p:nvSpPr>
          <p:spPr bwMode="auto">
            <a:xfrm>
              <a:off x="11664028" y="627741"/>
              <a:ext cx="130265" cy="108310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95" name="Freeform 52"/>
            <p:cNvSpPr>
              <a:spLocks/>
            </p:cNvSpPr>
            <p:nvPr/>
          </p:nvSpPr>
          <p:spPr bwMode="auto">
            <a:xfrm>
              <a:off x="11791365" y="551631"/>
              <a:ext cx="70255" cy="43910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  <p:pic>
        <p:nvPicPr>
          <p:cNvPr id="96" name="Picture 9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4847" y="6271661"/>
            <a:ext cx="2582172" cy="504881"/>
          </a:xfrm>
          <a:prstGeom prst="rect">
            <a:avLst/>
          </a:prstGeom>
        </p:spPr>
      </p:pic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1390608" y="3328654"/>
            <a:ext cx="10801392" cy="3529349"/>
          </a:xfrm>
        </p:spPr>
        <p:txBody>
          <a:bodyPr lIns="360000" anchor="ctr"/>
          <a:lstStyle>
            <a:lvl1pPr marL="0" indent="0" algn="l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section image here &gt;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592345" y="1453825"/>
            <a:ext cx="8204819" cy="42404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8797163" y="1948915"/>
            <a:ext cx="2861152" cy="27055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r">
              <a:buFontTx/>
              <a:buNone/>
              <a:defRPr sz="1400" b="0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92345" y="1862226"/>
            <a:ext cx="8204819" cy="389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GB" sz="2000" b="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7202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57202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7202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2408512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408512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2408512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0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425477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425477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425477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3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091261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091261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6091261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</p:spTree>
    <p:extLst>
      <p:ext uri="{BB962C8B-B14F-4D97-AF65-F5344CB8AC3E}">
        <p14:creationId xmlns:p14="http://schemas.microsoft.com/office/powerpoint/2010/main" val="152912775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6634" y="902797"/>
            <a:ext cx="10155767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26632" y="2080916"/>
            <a:ext cx="10155768" cy="39414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4" y="1373801"/>
            <a:ext cx="10155767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20893965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Two Column Bulle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26633" y="2257425"/>
            <a:ext cx="4862728" cy="38687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13430" y="2257425"/>
            <a:ext cx="4968972" cy="3868739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426634" y="902797"/>
            <a:ext cx="10155767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4" y="1373801"/>
            <a:ext cx="10155767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41279144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426634" y="902797"/>
            <a:ext cx="10155767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4" y="1373801"/>
            <a:ext cx="10155767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1559903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C 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3"/>
          <p:cNvSpPr>
            <a:spLocks noChangeAspect="1" noChangeArrowheads="1" noTextEdit="1"/>
          </p:cNvSpPr>
          <p:nvPr userDrawn="1"/>
        </p:nvSpPr>
        <p:spPr bwMode="auto">
          <a:xfrm>
            <a:off x="8843468" y="982663"/>
            <a:ext cx="3361267" cy="590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141313"/>
              </a:solidFill>
              <a:latin typeface="Arial"/>
            </a:endParaRPr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843468" y="982661"/>
            <a:ext cx="3361267" cy="5875339"/>
          </a:xfrm>
          <a:prstGeom prst="rect">
            <a:avLst/>
          </a:prstGeom>
          <a:solidFill>
            <a:srgbClr val="D7DAD6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457189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141313"/>
              </a:solidFill>
              <a:latin typeface="Arial"/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1426635" y="2080920"/>
            <a:ext cx="7404103" cy="3997325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9063131" y="1168407"/>
            <a:ext cx="2917237" cy="451807"/>
          </a:xfrm>
        </p:spPr>
        <p:txBody>
          <a:bodyPr anchor="t">
            <a:noAutofit/>
          </a:bodyPr>
          <a:lstStyle>
            <a:lvl1pPr marL="0" indent="0">
              <a:lnSpc>
                <a:spcPts val="1051"/>
              </a:lnSpc>
              <a:buNone/>
              <a:defRPr sz="1100" b="1" i="0">
                <a:solidFill>
                  <a:srgbClr val="1A1A1A"/>
                </a:solidFill>
                <a:latin typeface="+mj-lt"/>
                <a:cs typeface="Myriad Pro"/>
              </a:defRPr>
            </a:lvl1pPr>
          </a:lstStyle>
          <a:p>
            <a:pPr lvl="0"/>
            <a:r>
              <a:rPr lang="en-GB"/>
              <a:t>Heading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9063570" y="1690033"/>
            <a:ext cx="2916767" cy="4436131"/>
          </a:xfrm>
        </p:spPr>
        <p:txBody>
          <a:bodyPr>
            <a:normAutofit/>
          </a:bodyPr>
          <a:lstStyle>
            <a:lvl1pPr marL="114297" indent="-114297">
              <a:defRPr sz="1100">
                <a:solidFill>
                  <a:srgbClr val="272727"/>
                </a:solidFill>
              </a:defRPr>
            </a:lvl1pPr>
            <a:lvl2pPr marL="285744" indent="-146047">
              <a:defRPr sz="1051">
                <a:solidFill>
                  <a:srgbClr val="272727"/>
                </a:solidFill>
              </a:defRPr>
            </a:lvl2pPr>
            <a:lvl3pPr marL="387341" indent="-95248">
              <a:defRPr sz="900">
                <a:solidFill>
                  <a:srgbClr val="272727"/>
                </a:solidFill>
              </a:defRPr>
            </a:lvl3pPr>
            <a:lvl4pPr marL="539737" indent="-133347">
              <a:tabLst/>
              <a:defRPr sz="800">
                <a:solidFill>
                  <a:srgbClr val="272727"/>
                </a:solidFill>
              </a:defRPr>
            </a:lvl4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426636" y="902797"/>
            <a:ext cx="7416833" cy="463017"/>
          </a:xfrm>
        </p:spPr>
        <p:txBody>
          <a:bodyPr/>
          <a:lstStyle>
            <a:lvl1pPr>
              <a:defRPr>
                <a:solidFill>
                  <a:srgbClr val="DA291C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1426635" y="1373801"/>
            <a:ext cx="7404103" cy="398777"/>
          </a:xfrm>
        </p:spPr>
        <p:txBody>
          <a:bodyPr anchor="t">
            <a:noAutofit/>
          </a:bodyPr>
          <a:lstStyle>
            <a:lvl1pPr marL="0" indent="0">
              <a:lnSpc>
                <a:spcPts val="2200"/>
              </a:lnSpc>
              <a:buNone/>
              <a:defRPr sz="2000" b="0" i="0">
                <a:solidFill>
                  <a:srgbClr val="919D9D"/>
                </a:solidFill>
                <a:latin typeface="+mj-lt"/>
                <a:cs typeface="Myriad Pro Light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</p:spTree>
    <p:extLst>
      <p:ext uri="{BB962C8B-B14F-4D97-AF65-F5344CB8AC3E}">
        <p14:creationId xmlns:p14="http://schemas.microsoft.com/office/powerpoint/2010/main" val="311641303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C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36"/>
          <p:cNvSpPr>
            <a:spLocks noGrp="1"/>
          </p:cNvSpPr>
          <p:nvPr>
            <p:ph type="pic" sz="quarter" idx="28" hasCustomPrompt="1"/>
          </p:nvPr>
        </p:nvSpPr>
        <p:spPr>
          <a:xfrm>
            <a:off x="0" y="3610800"/>
            <a:ext cx="12192000" cy="3064411"/>
          </a:xfrm>
        </p:spPr>
        <p:txBody>
          <a:bodyPr>
            <a:noAutofit/>
          </a:bodyPr>
          <a:lstStyle>
            <a:lvl1pPr marL="269868" indent="165096" algn="l">
              <a:buNone/>
              <a:defRPr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image</a:t>
            </a: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88434" y="1981204"/>
            <a:ext cx="9264652" cy="305237"/>
          </a:xfrm>
        </p:spPr>
        <p:txBody>
          <a:bodyPr>
            <a:normAutofit/>
          </a:bodyPr>
          <a:lstStyle>
            <a:lvl1pPr>
              <a:defRPr sz="2400">
                <a:solidFill>
                  <a:srgbClr val="1A1A1A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5" y="2237591"/>
            <a:ext cx="9264653" cy="304800"/>
          </a:xfrm>
        </p:spPr>
        <p:txBody>
          <a:bodyPr anchor="t">
            <a:noAutofit/>
          </a:bodyPr>
          <a:lstStyle>
            <a:lvl1pPr marL="0" indent="0">
              <a:buNone/>
              <a:defRPr sz="22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9" name="Text Box 27"/>
          <p:cNvSpPr txBox="1">
            <a:spLocks noChangeArrowheads="1"/>
          </p:cNvSpPr>
          <p:nvPr userDrawn="1"/>
        </p:nvSpPr>
        <p:spPr bwMode="auto">
          <a:xfrm>
            <a:off x="588433" y="389223"/>
            <a:ext cx="1955800" cy="12311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kern="0">
                <a:solidFill>
                  <a:srgbClr val="FFFFFF"/>
                </a:solidFill>
                <a:latin typeface="Arial"/>
              </a:rPr>
              <a:t>www.hitachiconsulting.com</a:t>
            </a:r>
            <a:endParaRPr lang="en-US" sz="500" b="1" ker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88435" y="3005002"/>
            <a:ext cx="1821157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588435" y="3158070"/>
            <a:ext cx="182115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88435" y="3266715"/>
            <a:ext cx="182115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2417840" y="3004997"/>
            <a:ext cx="1846387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8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417840" y="3158070"/>
            <a:ext cx="184638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2417840" y="3266715"/>
            <a:ext cx="184638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30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10117668" y="3266715"/>
            <a:ext cx="1833032" cy="214315"/>
          </a:xfrm>
        </p:spPr>
        <p:txBody>
          <a:bodyPr lIns="0" tIns="46800" rIns="0" bIns="0" anchor="t" anchorCtr="0">
            <a:noAutofit/>
          </a:bodyPr>
          <a:lstStyle>
            <a:lvl1pPr marL="0" indent="0" algn="r">
              <a:buFontTx/>
              <a:buNone/>
              <a:defRPr sz="1000" b="1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 hasCustomPrompt="1"/>
          </p:nvPr>
        </p:nvSpPr>
        <p:spPr>
          <a:xfrm>
            <a:off x="4271183" y="3005002"/>
            <a:ext cx="1821157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7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4271183" y="3158070"/>
            <a:ext cx="182115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4271183" y="3266715"/>
            <a:ext cx="182115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6100589" y="3004997"/>
            <a:ext cx="1846387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1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100589" y="3158070"/>
            <a:ext cx="1846387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2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100589" y="3266715"/>
            <a:ext cx="1846387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33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7954432" y="3004997"/>
            <a:ext cx="2146301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1A1A1A"/>
                </a:solidFill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34" name="Content Placeholder 15"/>
          <p:cNvSpPr>
            <a:spLocks noGrp="1"/>
          </p:cNvSpPr>
          <p:nvPr>
            <p:ph sz="quarter" idx="26" hasCustomPrompt="1"/>
          </p:nvPr>
        </p:nvSpPr>
        <p:spPr>
          <a:xfrm>
            <a:off x="7954432" y="3158070"/>
            <a:ext cx="214630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1000">
                <a:solidFill>
                  <a:srgbClr val="73737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5" name="Content Placeholder 15"/>
          <p:cNvSpPr>
            <a:spLocks noGrp="1"/>
          </p:cNvSpPr>
          <p:nvPr>
            <p:ph sz="quarter" idx="27" hasCustomPrompt="1"/>
          </p:nvPr>
        </p:nvSpPr>
        <p:spPr>
          <a:xfrm>
            <a:off x="7954433" y="3266715"/>
            <a:ext cx="2146303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1000">
                <a:solidFill>
                  <a:srgbClr val="4D4D4D"/>
                </a:solidFill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38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68" y="1981205"/>
            <a:ext cx="1833032" cy="561191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6C6E6D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</p:spTree>
    <p:extLst>
      <p:ext uri="{BB962C8B-B14F-4D97-AF65-F5344CB8AC3E}">
        <p14:creationId xmlns:p14="http://schemas.microsoft.com/office/powerpoint/2010/main" val="20724991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C Bullet Slide (Style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5" y="914400"/>
            <a:ext cx="11362268" cy="304800"/>
          </a:xfrm>
        </p:spPr>
        <p:txBody>
          <a:bodyPr anchor="t">
            <a:noAutofit/>
          </a:bodyPr>
          <a:lstStyle>
            <a:lvl1pPr marL="0" indent="0">
              <a:buNone/>
              <a:defRPr sz="2000">
                <a:solidFill>
                  <a:srgbClr val="FD0014"/>
                </a:solidFill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5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70" y="6032503"/>
            <a:ext cx="1833033" cy="632279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30"/>
          </p:nvPr>
        </p:nvSpPr>
        <p:spPr>
          <a:xfrm>
            <a:off x="588433" y="1524001"/>
            <a:ext cx="11362267" cy="4495644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956387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C Blank Slide (Style 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88435" y="914400"/>
            <a:ext cx="11362268" cy="304800"/>
          </a:xfrm>
        </p:spPr>
        <p:txBody>
          <a:bodyPr anchor="t">
            <a:noAutofit/>
          </a:bodyPr>
          <a:lstStyle>
            <a:lvl1pPr marL="0" indent="0">
              <a:buNone/>
              <a:defRPr sz="2000">
                <a:solidFill>
                  <a:srgbClr val="FD0014"/>
                </a:solidFill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5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68" y="6010729"/>
            <a:ext cx="2074333" cy="654051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</p:spTree>
    <p:extLst>
      <p:ext uri="{BB962C8B-B14F-4D97-AF65-F5344CB8AC3E}">
        <p14:creationId xmlns:p14="http://schemas.microsoft.com/office/powerpoint/2010/main" val="7075049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0400" y="1522800"/>
            <a:ext cx="11361600" cy="4496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913600" y="6724800"/>
            <a:ext cx="1142400" cy="75600"/>
          </a:xfrm>
          <a:prstGeom prst="rect">
            <a:avLst/>
          </a:prstGeom>
        </p:spPr>
        <p:txBody>
          <a:bodyPr/>
          <a:lstStyle/>
          <a:p>
            <a:pPr defTabSz="457189"/>
            <a:r>
              <a:rPr lang="en-GB">
                <a:solidFill>
                  <a:srgbClr val="141313"/>
                </a:solidFill>
              </a:rPr>
              <a:t>Commercial in Confide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1040" y="6715149"/>
            <a:ext cx="227360" cy="85252"/>
          </a:xfrm>
          <a:prstGeom prst="rect">
            <a:avLst/>
          </a:prstGeom>
        </p:spPr>
        <p:txBody>
          <a:bodyPr/>
          <a:lstStyle/>
          <a:p>
            <a:pPr defTabSz="457189"/>
            <a:fld id="{E24401F2-8A98-484F-805F-4DFCE04E06B4}" type="slidenum">
              <a:rPr lang="en-GB" smtClean="0">
                <a:solidFill>
                  <a:srgbClr val="141313"/>
                </a:solidFill>
              </a:rPr>
              <a:pPr defTabSz="457189"/>
              <a:t>‹#›</a:t>
            </a:fld>
            <a:endParaRPr lang="en-GB">
              <a:solidFill>
                <a:srgbClr val="141313"/>
              </a:solidFill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590400" y="914400"/>
            <a:ext cx="11361600" cy="3060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8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70" y="6032503"/>
            <a:ext cx="1833033" cy="632279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</p:spTree>
    <p:extLst>
      <p:ext uri="{BB962C8B-B14F-4D97-AF65-F5344CB8AC3E}">
        <p14:creationId xmlns:p14="http://schemas.microsoft.com/office/powerpoint/2010/main" val="126565938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C Blank Slide (Style 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Picture Placeholder 38"/>
          <p:cNvSpPr>
            <a:spLocks noGrp="1"/>
          </p:cNvSpPr>
          <p:nvPr>
            <p:ph type="pic" sz="quarter" idx="29" hasCustomPrompt="1"/>
          </p:nvPr>
        </p:nvSpPr>
        <p:spPr>
          <a:xfrm>
            <a:off x="10117668" y="6010729"/>
            <a:ext cx="2074333" cy="654051"/>
          </a:xfrm>
        </p:spPr>
        <p:txBody>
          <a:bodyPr>
            <a:normAutofit/>
          </a:bodyPr>
          <a:lstStyle>
            <a:lvl1pPr algn="ctr">
              <a:buNone/>
              <a:defRPr sz="600" baseline="0">
                <a:solidFill>
                  <a:srgbClr val="A4A7A6"/>
                </a:solidFill>
              </a:defRPr>
            </a:lvl1pPr>
          </a:lstStyle>
          <a:p>
            <a:r>
              <a:rPr lang="en-US"/>
              <a:t>Click to add logo</a:t>
            </a:r>
          </a:p>
        </p:txBody>
      </p:sp>
    </p:spTree>
    <p:extLst>
      <p:ext uri="{BB962C8B-B14F-4D97-AF65-F5344CB8AC3E}">
        <p14:creationId xmlns:p14="http://schemas.microsoft.com/office/powerpoint/2010/main" val="16743903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34E95-BED2-4CBB-86AF-B29876E8A9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DDBA67-9452-48B7-B8F1-B7E4D782AA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8269FBD-170B-4114-B88C-5B0E6CF5D5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BF3D7A-24E4-41F9-BFA7-FA83B39EC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42467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HC Titl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1390608" y="3328654"/>
            <a:ext cx="10801392" cy="3529349"/>
          </a:xfrm>
        </p:spPr>
        <p:txBody>
          <a:bodyPr lIns="360000" anchor="ctr"/>
          <a:lstStyle>
            <a:lvl1pPr marL="0" indent="0" algn="l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section image here &gt;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592345" y="1453825"/>
            <a:ext cx="8204819" cy="42404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8797163" y="1948915"/>
            <a:ext cx="2861152" cy="27055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r">
              <a:buFontTx/>
              <a:buNone/>
              <a:defRPr sz="1400" b="0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92345" y="1862226"/>
            <a:ext cx="8204819" cy="389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GB" sz="2000" b="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7202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57202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7202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2408512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408512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2408512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0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425477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425477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425477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3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091261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091261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6091261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592347" y="0"/>
            <a:ext cx="3558037" cy="255181"/>
          </a:xfrm>
        </p:spPr>
        <p:txBody>
          <a:bodyPr tIns="46800">
            <a:noAutofit/>
          </a:bodyPr>
          <a:lstStyle>
            <a:lvl1pPr marL="0" indent="0" algn="ctr">
              <a:buFontTx/>
              <a:buNone/>
              <a:defRPr sz="1000" b="0" i="0" baseline="0">
                <a:solidFill>
                  <a:schemeClr val="bg1"/>
                </a:solidFill>
                <a:latin typeface="+mn-lt"/>
                <a:cs typeface="Myriad Pro"/>
              </a:defRPr>
            </a:lvl1pPr>
          </a:lstStyle>
          <a:p>
            <a:pPr lvl="0"/>
            <a:r>
              <a:rPr lang="en-GB"/>
              <a:t>Enter sector name here</a:t>
            </a: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A485EB82-7006-45E1-8763-0ECE8543CC55}"/>
              </a:ext>
            </a:extLst>
          </p:cNvPr>
          <p:cNvGrpSpPr/>
          <p:nvPr userDrawn="1"/>
        </p:nvGrpSpPr>
        <p:grpSpPr>
          <a:xfrm>
            <a:off x="10287002" y="228601"/>
            <a:ext cx="1599503" cy="459745"/>
            <a:chOff x="10058400" y="255974"/>
            <a:chExt cx="1828103" cy="525451"/>
          </a:xfrm>
        </p:grpSpPr>
        <p:sp>
          <p:nvSpPr>
            <p:cNvPr id="59" name="Freeform 5">
              <a:extLst>
                <a:ext uri="{FF2B5EF4-FFF2-40B4-BE49-F238E27FC236}">
                  <a16:creationId xmlns:a16="http://schemas.microsoft.com/office/drawing/2014/main" id="{1C4A2591-B52F-41B0-9612-42AD99EEE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2033" y="263293"/>
              <a:ext cx="263458" cy="247356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7">
              <a:extLst>
                <a:ext uri="{FF2B5EF4-FFF2-40B4-BE49-F238E27FC236}">
                  <a16:creationId xmlns:a16="http://schemas.microsoft.com/office/drawing/2014/main" id="{E84C947E-3710-44C3-9222-0C68817AFF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79460" y="263293"/>
              <a:ext cx="266385" cy="247356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1" name="Freeform 9">
              <a:extLst>
                <a:ext uri="{FF2B5EF4-FFF2-40B4-BE49-F238E27FC236}">
                  <a16:creationId xmlns:a16="http://schemas.microsoft.com/office/drawing/2014/main" id="{79CD5FD9-D854-44F3-A5BB-8930F890C9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90396" y="258560"/>
              <a:ext cx="311758" cy="247356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F00DCC1-59A4-4B69-BEAF-FF7AF7F565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16719" y="263293"/>
              <a:ext cx="65864" cy="247356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3" name="Freeform 31">
              <a:extLst>
                <a:ext uri="{FF2B5EF4-FFF2-40B4-BE49-F238E27FC236}">
                  <a16:creationId xmlns:a16="http://schemas.microsoft.com/office/drawing/2014/main" id="{352DC714-07BD-485C-AD90-DE5E5E7C659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75492" y="263293"/>
              <a:ext cx="263458" cy="247356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2A4F3F82-BEA1-4D7A-B8A3-FB9C03AB6D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90178" y="263293"/>
              <a:ext cx="65864" cy="247356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5" name="Freeform 35">
              <a:extLst>
                <a:ext uri="{FF2B5EF4-FFF2-40B4-BE49-F238E27FC236}">
                  <a16:creationId xmlns:a16="http://schemas.microsoft.com/office/drawing/2014/main" id="{DADF9213-FF99-4C73-B9E3-AAC94B10D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88812" y="255974"/>
              <a:ext cx="279558" cy="260530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6" name="Freeform 36">
              <a:extLst>
                <a:ext uri="{FF2B5EF4-FFF2-40B4-BE49-F238E27FC236}">
                  <a16:creationId xmlns:a16="http://schemas.microsoft.com/office/drawing/2014/main" id="{E2ECA817-8B03-4B57-894D-999A1A5C304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58400" y="579441"/>
              <a:ext cx="60010" cy="156610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7" name="Freeform 37">
              <a:extLst>
                <a:ext uri="{FF2B5EF4-FFF2-40B4-BE49-F238E27FC236}">
                  <a16:creationId xmlns:a16="http://schemas.microsoft.com/office/drawing/2014/main" id="{76878C80-DFE9-4224-B0C3-3F6C41CEA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50611" y="624814"/>
              <a:ext cx="122947" cy="111237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8" name="Freeform 22">
              <a:extLst>
                <a:ext uri="{FF2B5EF4-FFF2-40B4-BE49-F238E27FC236}">
                  <a16:creationId xmlns:a16="http://schemas.microsoft.com/office/drawing/2014/main" id="{38C5F33E-6455-4C54-96C8-8E2A7AA12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07221" y="626278"/>
              <a:ext cx="83429" cy="111237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9" name="Freeform 24">
              <a:extLst>
                <a:ext uri="{FF2B5EF4-FFF2-40B4-BE49-F238E27FC236}">
                  <a16:creationId xmlns:a16="http://schemas.microsoft.com/office/drawing/2014/main" id="{86C31709-18D9-43BF-8C1E-15F7BED3E2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5286" y="624814"/>
              <a:ext cx="127337" cy="156611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0" name="Freeform 40">
              <a:extLst>
                <a:ext uri="{FF2B5EF4-FFF2-40B4-BE49-F238E27FC236}">
                  <a16:creationId xmlns:a16="http://schemas.microsoft.com/office/drawing/2014/main" id="{6D58541C-EACD-4594-B6A2-50493D91B7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53115" y="624814"/>
              <a:ext cx="48301" cy="111237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1" name="Freeform 41">
              <a:extLst>
                <a:ext uri="{FF2B5EF4-FFF2-40B4-BE49-F238E27FC236}">
                  <a16:creationId xmlns:a16="http://schemas.microsoft.com/office/drawing/2014/main" id="{3C1D8DF3-7729-4878-84F3-F2ADE3331E1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69215" y="579441"/>
              <a:ext cx="36591" cy="33664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2" name="Freeform 31">
              <a:extLst>
                <a:ext uri="{FF2B5EF4-FFF2-40B4-BE49-F238E27FC236}">
                  <a16:creationId xmlns:a16="http://schemas.microsoft.com/office/drawing/2014/main" id="{E67A582C-98A7-4CF5-A53D-A35FC1B32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9225" y="624814"/>
              <a:ext cx="95138" cy="111237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3" name="Freeform 33">
              <a:extLst>
                <a:ext uri="{FF2B5EF4-FFF2-40B4-BE49-F238E27FC236}">
                  <a16:creationId xmlns:a16="http://schemas.microsoft.com/office/drawing/2014/main" id="{B2FE1875-0CCB-48AF-8033-32D3DB248B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7535" y="626278"/>
              <a:ext cx="105383" cy="111237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4" name="Freeform 36">
              <a:extLst>
                <a:ext uri="{FF2B5EF4-FFF2-40B4-BE49-F238E27FC236}">
                  <a16:creationId xmlns:a16="http://schemas.microsoft.com/office/drawing/2014/main" id="{D2BBA170-7D37-402B-B973-E85C79968FF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1484" y="575050"/>
              <a:ext cx="122947" cy="161002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5" name="Freeform 38">
              <a:extLst>
                <a:ext uri="{FF2B5EF4-FFF2-40B4-BE49-F238E27FC236}">
                  <a16:creationId xmlns:a16="http://schemas.microsoft.com/office/drawing/2014/main" id="{0420F215-A675-4769-BD58-C72C83E5EF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2240" y="626278"/>
              <a:ext cx="105383" cy="111237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6" name="Freeform 41">
              <a:extLst>
                <a:ext uri="{FF2B5EF4-FFF2-40B4-BE49-F238E27FC236}">
                  <a16:creationId xmlns:a16="http://schemas.microsoft.com/office/drawing/2014/main" id="{60E62FC0-B48B-43F2-A7BE-8F9064459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926347" y="595541"/>
              <a:ext cx="81965" cy="141975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7" name="Freeform 43">
              <a:extLst>
                <a:ext uri="{FF2B5EF4-FFF2-40B4-BE49-F238E27FC236}">
                  <a16:creationId xmlns:a16="http://schemas.microsoft.com/office/drawing/2014/main" id="{5846689F-3057-4703-ADE7-8897203FFF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52269" y="582369"/>
              <a:ext cx="177102" cy="153683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8" name="Freeform 49">
              <a:extLst>
                <a:ext uri="{FF2B5EF4-FFF2-40B4-BE49-F238E27FC236}">
                  <a16:creationId xmlns:a16="http://schemas.microsoft.com/office/drawing/2014/main" id="{3A52355E-076D-4690-9976-A955E3CA6DE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57181" y="626278"/>
              <a:ext cx="103920" cy="111237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79" name="Freeform 48">
              <a:extLst>
                <a:ext uri="{FF2B5EF4-FFF2-40B4-BE49-F238E27FC236}">
                  <a16:creationId xmlns:a16="http://schemas.microsoft.com/office/drawing/2014/main" id="{D8C37692-EC28-48C6-8FD5-415838EE73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04538" y="595541"/>
              <a:ext cx="81965" cy="141975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0" name="Freeform 50">
              <a:extLst>
                <a:ext uri="{FF2B5EF4-FFF2-40B4-BE49-F238E27FC236}">
                  <a16:creationId xmlns:a16="http://schemas.microsoft.com/office/drawing/2014/main" id="{71CBDF59-6625-442D-80A5-FCDE9EB546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4028" y="627741"/>
              <a:ext cx="130265" cy="108310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141313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81" name="Freeform 52">
              <a:extLst>
                <a:ext uri="{FF2B5EF4-FFF2-40B4-BE49-F238E27FC236}">
                  <a16:creationId xmlns:a16="http://schemas.microsoft.com/office/drawing/2014/main" id="{1BEEA7E4-3B3E-4C6B-8819-6EB4A7AF329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91365" y="551631"/>
              <a:ext cx="70255" cy="43910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lnSpc>
                  <a:spcPct val="90000"/>
                </a:lnSpc>
                <a:defRPr/>
              </a:pPr>
              <a:endParaRPr lang="ja-JP" altLang="en-US" sz="1800" ker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855779C-8DBA-4E15-81A8-BDC1A023100B}"/>
              </a:ext>
            </a:extLst>
          </p:cNvPr>
          <p:cNvGrpSpPr/>
          <p:nvPr userDrawn="1"/>
        </p:nvGrpSpPr>
        <p:grpSpPr>
          <a:xfrm>
            <a:off x="2" y="811621"/>
            <a:ext cx="12195079" cy="77679"/>
            <a:chOff x="-3079" y="1"/>
            <a:chExt cx="12195079" cy="98904"/>
          </a:xfrm>
        </p:grpSpPr>
        <p:sp>
          <p:nvSpPr>
            <p:cNvPr id="83" name="正方形/長方形 11">
              <a:extLst>
                <a:ext uri="{FF2B5EF4-FFF2-40B4-BE49-F238E27FC236}">
                  <a16:creationId xmlns:a16="http://schemas.microsoft.com/office/drawing/2014/main" id="{ADF31DBC-CE94-4BE9-BAEB-95E0A081C39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-3077" y="1"/>
              <a:ext cx="12195077" cy="9890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84" name="正方形/長方形 74">
              <a:extLst>
                <a:ext uri="{FF2B5EF4-FFF2-40B4-BE49-F238E27FC236}">
                  <a16:creationId xmlns:a16="http://schemas.microsoft.com/office/drawing/2014/main" id="{4B1D5771-E8ED-4193-80BE-E317D5EA722E}"/>
                </a:ext>
              </a:extLst>
            </p:cNvPr>
            <p:cNvSpPr/>
            <p:nvPr/>
          </p:nvSpPr>
          <p:spPr bwMode="gray">
            <a:xfrm>
              <a:off x="-3079" y="1"/>
              <a:ext cx="1758301" cy="98904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正方形/長方形 75">
              <a:extLst>
                <a:ext uri="{FF2B5EF4-FFF2-40B4-BE49-F238E27FC236}">
                  <a16:creationId xmlns:a16="http://schemas.microsoft.com/office/drawing/2014/main" id="{D1374088-0B37-4657-98AE-C4F42F1C730F}"/>
                </a:ext>
              </a:extLst>
            </p:cNvPr>
            <p:cNvSpPr/>
            <p:nvPr/>
          </p:nvSpPr>
          <p:spPr bwMode="gray">
            <a:xfrm>
              <a:off x="-3079" y="1"/>
              <a:ext cx="639893" cy="98904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793522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HC Titl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1390608" y="3328654"/>
            <a:ext cx="10801392" cy="3529349"/>
          </a:xfrm>
        </p:spPr>
        <p:txBody>
          <a:bodyPr lIns="360000" anchor="ctr"/>
          <a:lstStyle>
            <a:lvl1pPr marL="0" indent="0" algn="l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section image here &gt;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592345" y="1453825"/>
            <a:ext cx="8204819" cy="42404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8797163" y="1948915"/>
            <a:ext cx="2861152" cy="27055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r">
              <a:buFontTx/>
              <a:buNone/>
              <a:defRPr sz="1400" b="0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92345" y="1862226"/>
            <a:ext cx="8204819" cy="389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GB" sz="2000" b="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7202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57202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7202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2408512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408512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2408512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0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4254777" y="2660310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4254777" y="2813378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4254777" y="2922023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3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091261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091261" y="2813378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6091261" y="2922023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3078" y="1"/>
            <a:ext cx="12195079" cy="98904"/>
            <a:chOff x="-3079" y="1"/>
            <a:chExt cx="12195079" cy="98904"/>
          </a:xfrm>
        </p:grpSpPr>
        <p:sp>
          <p:nvSpPr>
            <p:cNvPr id="38" name="正方形/長方形 11"/>
            <p:cNvSpPr>
              <a:spLocks noChangeArrowheads="1"/>
            </p:cNvSpPr>
            <p:nvPr/>
          </p:nvSpPr>
          <p:spPr bwMode="gray">
            <a:xfrm>
              <a:off x="-3077" y="1"/>
              <a:ext cx="12195077" cy="9890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39" name="正方形/長方形 74"/>
            <p:cNvSpPr/>
            <p:nvPr/>
          </p:nvSpPr>
          <p:spPr bwMode="gray">
            <a:xfrm>
              <a:off x="-3079" y="1"/>
              <a:ext cx="1758301" cy="98904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正方形/長方形 75"/>
            <p:cNvSpPr/>
            <p:nvPr/>
          </p:nvSpPr>
          <p:spPr bwMode="gray">
            <a:xfrm>
              <a:off x="-3079" y="1"/>
              <a:ext cx="639893" cy="98904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6" name="TextBox 25"/>
          <p:cNvSpPr txBox="1"/>
          <p:nvPr userDrawn="1"/>
        </p:nvSpPr>
        <p:spPr>
          <a:xfrm>
            <a:off x="8077201" y="6705602"/>
            <a:ext cx="402590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7189" fontAlgn="auto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chemeClr val="tx1"/>
                </a:solidFill>
                <a:latin typeface="Arial"/>
                <a:cs typeface="Myriad Pro Light"/>
              </a:rPr>
              <a:t> © Copyright 2017 Hitachi Consulting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5943600" y="6705602"/>
            <a:ext cx="85486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457189" fontAlgn="auto">
              <a:spcBef>
                <a:spcPts val="0"/>
              </a:spcBef>
              <a:spcAft>
                <a:spcPts val="0"/>
              </a:spcAft>
            </a:pPr>
            <a:fld id="{1D5CBB68-01B2-44CB-8127-B6D13725CACB}" type="slidenum">
              <a:rPr lang="en-US" sz="700" b="1" smtClean="0">
                <a:solidFill>
                  <a:schemeClr val="tx1"/>
                </a:solidFill>
                <a:latin typeface="Arial"/>
              </a:rPr>
              <a:pPr algn="ctr" defTabSz="457189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b="1">
              <a:solidFill>
                <a:schemeClr val="tx1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26282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8_HC Titl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30" hasCustomPrompt="1"/>
          </p:nvPr>
        </p:nvSpPr>
        <p:spPr>
          <a:xfrm>
            <a:off x="1390608" y="4806071"/>
            <a:ext cx="10801392" cy="574516"/>
          </a:xfrm>
        </p:spPr>
        <p:txBody>
          <a:bodyPr lIns="360000" anchor="ctr"/>
          <a:lstStyle>
            <a:lvl1pPr marL="0" indent="0" algn="l">
              <a:buNone/>
              <a:defRPr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section image here &gt;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592345" y="1453825"/>
            <a:ext cx="8204819" cy="424048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kumimoji="0" lang="en-US" sz="2800" b="0" i="0" u="none" strike="noStrike" kern="1200" cap="none" spc="0" normalizeH="0" baseline="0" dirty="0">
                <a:ln>
                  <a:noFill/>
                </a:ln>
                <a:solidFill>
                  <a:srgbClr val="DA291C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354" rtl="0" eaLnBrk="1" fontAlgn="auto" latinLnBrk="0" hangingPunct="1">
              <a:lnSpc>
                <a:spcPts val="3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4" name="Content Placeholder 23"/>
          <p:cNvSpPr>
            <a:spLocks noGrp="1"/>
          </p:cNvSpPr>
          <p:nvPr>
            <p:ph sz="quarter" idx="18" hasCustomPrompt="1"/>
          </p:nvPr>
        </p:nvSpPr>
        <p:spPr>
          <a:xfrm>
            <a:off x="8797163" y="1948917"/>
            <a:ext cx="2861152" cy="270559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marL="0" indent="0" algn="r">
              <a:buFontTx/>
              <a:buNone/>
              <a:defRPr sz="1400" b="0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592345" y="1862228"/>
            <a:ext cx="8204819" cy="389681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0" indent="0">
              <a:buNone/>
              <a:defRPr lang="en-GB" sz="2000" b="0" kern="120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GB"/>
              <a:t>Click to add Sub-title</a:t>
            </a:r>
          </a:p>
        </p:txBody>
      </p:sp>
      <p:sp>
        <p:nvSpPr>
          <p:cNvPr id="10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72029" y="2660312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1" name="Content Placeholder 15"/>
          <p:cNvSpPr>
            <a:spLocks noGrp="1"/>
          </p:cNvSpPr>
          <p:nvPr>
            <p:ph sz="quarter" idx="13" hasCustomPrompt="1"/>
          </p:nvPr>
        </p:nvSpPr>
        <p:spPr>
          <a:xfrm>
            <a:off x="572029" y="2813379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2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72029" y="2922024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14" name="Content Placeholder 15"/>
          <p:cNvSpPr>
            <a:spLocks noGrp="1"/>
          </p:cNvSpPr>
          <p:nvPr>
            <p:ph sz="quarter" idx="15" hasCustomPrompt="1"/>
          </p:nvPr>
        </p:nvSpPr>
        <p:spPr>
          <a:xfrm>
            <a:off x="2408513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15" name="Content Placeholder 15"/>
          <p:cNvSpPr>
            <a:spLocks noGrp="1"/>
          </p:cNvSpPr>
          <p:nvPr>
            <p:ph sz="quarter" idx="16" hasCustomPrompt="1"/>
          </p:nvPr>
        </p:nvSpPr>
        <p:spPr>
          <a:xfrm>
            <a:off x="2408513" y="2813379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7" hasCustomPrompt="1"/>
          </p:nvPr>
        </p:nvSpPr>
        <p:spPr>
          <a:xfrm>
            <a:off x="2408513" y="2922024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0" name="Content Placeholder 15"/>
          <p:cNvSpPr>
            <a:spLocks noGrp="1"/>
          </p:cNvSpPr>
          <p:nvPr>
            <p:ph sz="quarter" idx="20" hasCustomPrompt="1"/>
          </p:nvPr>
        </p:nvSpPr>
        <p:spPr>
          <a:xfrm>
            <a:off x="4254778" y="2660312"/>
            <a:ext cx="1698031" cy="214313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1" name="Content Placeholder 15"/>
          <p:cNvSpPr>
            <a:spLocks noGrp="1"/>
          </p:cNvSpPr>
          <p:nvPr>
            <p:ph sz="quarter" idx="21" hasCustomPrompt="1"/>
          </p:nvPr>
        </p:nvSpPr>
        <p:spPr>
          <a:xfrm>
            <a:off x="4254778" y="2813379"/>
            <a:ext cx="1698031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2" name="Content Placeholder 15"/>
          <p:cNvSpPr>
            <a:spLocks noGrp="1"/>
          </p:cNvSpPr>
          <p:nvPr>
            <p:ph sz="quarter" idx="22" hasCustomPrompt="1"/>
          </p:nvPr>
        </p:nvSpPr>
        <p:spPr>
          <a:xfrm>
            <a:off x="4254778" y="2922024"/>
            <a:ext cx="1698031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3" name="Content Placeholder 15"/>
          <p:cNvSpPr>
            <a:spLocks noGrp="1"/>
          </p:cNvSpPr>
          <p:nvPr>
            <p:ph sz="quarter" idx="23" hasCustomPrompt="1"/>
          </p:nvPr>
        </p:nvSpPr>
        <p:spPr>
          <a:xfrm>
            <a:off x="6091261" y="2660305"/>
            <a:ext cx="1721555" cy="214315"/>
          </a:xfrm>
        </p:spPr>
        <p:txBody>
          <a:bodyPr bIns="46800" anchor="b" anchorCtr="0">
            <a:noAutofit/>
          </a:bodyPr>
          <a:lstStyle>
            <a:lvl1pPr marL="0" indent="0">
              <a:buFontTx/>
              <a:buNone/>
              <a:defRPr sz="1000" b="1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Name</a:t>
            </a:r>
          </a:p>
        </p:txBody>
      </p:sp>
      <p:sp>
        <p:nvSpPr>
          <p:cNvPr id="24" name="Content Placeholder 15"/>
          <p:cNvSpPr>
            <a:spLocks noGrp="1"/>
          </p:cNvSpPr>
          <p:nvPr>
            <p:ph sz="quarter" idx="24" hasCustomPrompt="1"/>
          </p:nvPr>
        </p:nvSpPr>
        <p:spPr>
          <a:xfrm>
            <a:off x="6091261" y="2813379"/>
            <a:ext cx="1721555" cy="178879"/>
          </a:xfrm>
        </p:spPr>
        <p:txBody>
          <a:bodyPr tIns="46800" bIns="46800" anchor="ctr" anchorCtr="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25" hasCustomPrompt="1"/>
          </p:nvPr>
        </p:nvSpPr>
        <p:spPr>
          <a:xfrm>
            <a:off x="6091261" y="2922024"/>
            <a:ext cx="1721555" cy="214315"/>
          </a:xfrm>
        </p:spPr>
        <p:txBody>
          <a:bodyPr tIns="46800">
            <a:noAutofit/>
          </a:bodyPr>
          <a:lstStyle>
            <a:lvl1pPr marL="0" indent="0">
              <a:buFontTx/>
              <a:buNone/>
              <a:defRPr sz="900" b="0" i="0">
                <a:solidFill>
                  <a:srgbClr val="FFFFFF"/>
                </a:solidFill>
                <a:latin typeface="+mn-lt"/>
                <a:cs typeface="Myriad Pro Light"/>
              </a:defRPr>
            </a:lvl1pPr>
          </a:lstStyle>
          <a:p>
            <a:pPr lvl="0"/>
            <a:r>
              <a:rPr lang="en-GB"/>
              <a:t>Company</a:t>
            </a:r>
          </a:p>
        </p:txBody>
      </p:sp>
      <p:sp>
        <p:nvSpPr>
          <p:cNvPr id="27" name="Content Placeholder 15"/>
          <p:cNvSpPr>
            <a:spLocks noGrp="1"/>
          </p:cNvSpPr>
          <p:nvPr>
            <p:ph sz="quarter" idx="29" hasCustomPrompt="1"/>
          </p:nvPr>
        </p:nvSpPr>
        <p:spPr>
          <a:xfrm>
            <a:off x="592348" y="0"/>
            <a:ext cx="3558037" cy="255181"/>
          </a:xfrm>
        </p:spPr>
        <p:txBody>
          <a:bodyPr tIns="46800">
            <a:noAutofit/>
          </a:bodyPr>
          <a:lstStyle>
            <a:lvl1pPr marL="0" indent="0" algn="ctr">
              <a:buFontTx/>
              <a:buNone/>
              <a:defRPr sz="1000" b="0" i="0" baseline="0">
                <a:solidFill>
                  <a:schemeClr val="bg1"/>
                </a:solidFill>
                <a:latin typeface="+mn-lt"/>
                <a:cs typeface="Myriad Pro"/>
              </a:defRPr>
            </a:lvl1pPr>
          </a:lstStyle>
          <a:p>
            <a:pPr lvl="0"/>
            <a:r>
              <a:rPr lang="en-GB"/>
              <a:t>Enter sector name here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5791202" y="6713159"/>
            <a:ext cx="402590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178" fontAlgn="auto">
              <a:spcBef>
                <a:spcPts val="0"/>
              </a:spcBef>
              <a:spcAft>
                <a:spcPts val="0"/>
              </a:spcAft>
            </a:pPr>
            <a:r>
              <a:rPr lang="en-US" sz="700">
                <a:solidFill>
                  <a:schemeClr val="bg1">
                    <a:lumMod val="75000"/>
                  </a:schemeClr>
                </a:solidFill>
                <a:latin typeface="Arial"/>
                <a:cs typeface="Myriad Pro Light"/>
              </a:rPr>
              <a:t>|   © Copyright 2015 Hitachi Consulting</a:t>
            </a:r>
          </a:p>
        </p:txBody>
      </p:sp>
      <p:sp>
        <p:nvSpPr>
          <p:cNvPr id="30" name="TextBox 29"/>
          <p:cNvSpPr txBox="1"/>
          <p:nvPr userDrawn="1"/>
        </p:nvSpPr>
        <p:spPr>
          <a:xfrm>
            <a:off x="5607728" y="6713159"/>
            <a:ext cx="854869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7178" fontAlgn="auto">
              <a:spcBef>
                <a:spcPts val="0"/>
              </a:spcBef>
              <a:spcAft>
                <a:spcPts val="0"/>
              </a:spcAft>
            </a:pPr>
            <a:fld id="{1D5CBB68-01B2-44CB-8127-B6D13725CACB}" type="slidenum">
              <a:rPr lang="en-US" sz="700" b="1" smtClean="0">
                <a:solidFill>
                  <a:schemeClr val="bg1">
                    <a:lumMod val="75000"/>
                  </a:schemeClr>
                </a:solidFill>
                <a:latin typeface="Arial"/>
              </a:rPr>
              <a:pPr defTabSz="45717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b="1">
              <a:solidFill>
                <a:schemeClr val="bg1">
                  <a:lumMod val="75000"/>
                </a:schemeClr>
              </a:solidFill>
              <a:latin typeface="Arial"/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-3077" y="1"/>
            <a:ext cx="12195079" cy="98904"/>
            <a:chOff x="-3079" y="1"/>
            <a:chExt cx="12195079" cy="98904"/>
          </a:xfrm>
        </p:grpSpPr>
        <p:sp>
          <p:nvSpPr>
            <p:cNvPr id="38" name="正方形/長方形 11"/>
            <p:cNvSpPr>
              <a:spLocks noChangeArrowheads="1"/>
            </p:cNvSpPr>
            <p:nvPr/>
          </p:nvSpPr>
          <p:spPr bwMode="gray">
            <a:xfrm>
              <a:off x="-3077" y="1"/>
              <a:ext cx="12195077" cy="9890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1800">
                <a:solidFill>
                  <a:prstClr val="white"/>
                </a:solidFill>
              </a:endParaRPr>
            </a:p>
          </p:txBody>
        </p:sp>
        <p:sp>
          <p:nvSpPr>
            <p:cNvPr id="39" name="正方形/長方形 74"/>
            <p:cNvSpPr/>
            <p:nvPr/>
          </p:nvSpPr>
          <p:spPr bwMode="gray">
            <a:xfrm>
              <a:off x="-3079" y="1"/>
              <a:ext cx="1758301" cy="98904"/>
            </a:xfrm>
            <a:prstGeom prst="rect">
              <a:avLst/>
            </a:prstGeom>
            <a:solidFill>
              <a:srgbClr val="FD001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0" name="正方形/長方形 75"/>
            <p:cNvSpPr/>
            <p:nvPr/>
          </p:nvSpPr>
          <p:spPr bwMode="gray">
            <a:xfrm>
              <a:off x="-3079" y="1"/>
              <a:ext cx="639893" cy="98904"/>
            </a:xfrm>
            <a:prstGeom prst="rect">
              <a:avLst/>
            </a:prstGeom>
            <a:solidFill>
              <a:srgbClr val="B3B3B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ja-JP" altLang="en-US" sz="1800" kern="0">
                <a:solidFill>
                  <a:sysClr val="windowText" lastClr="000000"/>
                </a:solidFill>
              </a:endParaRPr>
            </a:p>
          </p:txBody>
        </p:sp>
      </p:grp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2606" y="265316"/>
            <a:ext cx="1555665" cy="446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65911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4800" y="365760"/>
            <a:ext cx="8644128" cy="6096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>
                <a:latin typeface="Arial"/>
              </a:defRPr>
            </a:lvl1pPr>
          </a:lstStyle>
          <a:p>
            <a:r>
              <a:rPr lang="en-US"/>
              <a:t>Slide Title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975360"/>
            <a:ext cx="8644128" cy="6096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aseline="0"/>
            </a:lvl1pPr>
          </a:lstStyle>
          <a:p>
            <a:pPr lvl="0"/>
            <a:r>
              <a:rPr lang="en-US"/>
              <a:t>Subhead</a:t>
            </a:r>
          </a:p>
        </p:txBody>
      </p:sp>
      <p:sp>
        <p:nvSpPr>
          <p:cNvPr id="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06917" y="1600200"/>
            <a:ext cx="5718048" cy="4572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16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090520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120A72-72EC-46D6-ADB1-69A302C2CBF8}" type="datetimeFigureOut">
              <a:rPr lang="en-AU" smtClean="0"/>
              <a:t>1/2/22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D0DD57-A473-4224-97FB-85E7278CEE16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900997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Images and Contents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211516" y="216000"/>
            <a:ext cx="5228944" cy="642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2000"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/>
              <a:t>Your Picture Here and send to back 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07829401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326348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Text Box 13"/>
          <p:cNvSpPr txBox="1">
            <a:spLocks noChangeArrowheads="1"/>
          </p:cNvSpPr>
          <p:nvPr userDrawn="1"/>
        </p:nvSpPr>
        <p:spPr bwMode="gray">
          <a:xfrm>
            <a:off x="8887884" y="6599239"/>
            <a:ext cx="2702984" cy="23589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spcBef>
                <a:spcPct val="50000"/>
              </a:spcBef>
              <a:defRPr/>
            </a:pPr>
            <a:r>
              <a:rPr kumimoji="0" lang="en-US" altLang="ja-JP" sz="933">
                <a:solidFill>
                  <a:schemeClr val="tx1"/>
                </a:solidFill>
                <a:latin typeface="Arial" charset="0"/>
                <a:ea typeface="ＭＳ Ｐゴシック" pitchFamily="50" charset="-128"/>
              </a:rPr>
              <a:t>© Hitachi</a:t>
            </a:r>
            <a:r>
              <a:rPr kumimoji="0" lang="en-US" altLang="ja-JP" sz="933" baseline="0">
                <a:solidFill>
                  <a:schemeClr val="tx1"/>
                </a:solidFill>
                <a:latin typeface="Arial" charset="0"/>
                <a:ea typeface="ＭＳ Ｐゴシック" pitchFamily="50" charset="-128"/>
              </a:rPr>
              <a:t> Europe</a:t>
            </a:r>
            <a:r>
              <a:rPr kumimoji="0" lang="en-US" altLang="ja-JP" sz="933">
                <a:solidFill>
                  <a:schemeClr val="tx1"/>
                </a:solidFill>
                <a:latin typeface="Arial" charset="0"/>
                <a:ea typeface="ＭＳ Ｐゴシック" pitchFamily="50" charset="-128"/>
              </a:rPr>
              <a:t> Ltd. 2020. All rights reserved.</a:t>
            </a:r>
          </a:p>
        </p:txBody>
      </p:sp>
      <p:sp>
        <p:nvSpPr>
          <p:cNvPr id="42" name="スライド番号プレースホルダ 2"/>
          <p:cNvSpPr>
            <a:spLocks noGrp="1"/>
          </p:cNvSpPr>
          <p:nvPr userDrawn="1">
            <p:ph type="sldNum" sz="quarter" idx="10"/>
          </p:nvPr>
        </p:nvSpPr>
        <p:spPr bwMode="gray">
          <a:xfrm>
            <a:off x="11413814" y="6555016"/>
            <a:ext cx="651933" cy="304800"/>
          </a:xfrm>
          <a:prstGeom prst="rect">
            <a:avLst/>
          </a:prstGeom>
        </p:spPr>
        <p:txBody>
          <a:bodyPr/>
          <a:lstStyle>
            <a:lvl1pPr algn="r">
              <a:defRPr sz="1467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90173A9-6621-4FFE-BC07-AC198BDD4C9A}" type="slidenum">
              <a:rPr lang="en-US" altLang="ja-JP" smtClean="0"/>
              <a:pPr>
                <a:defRPr/>
              </a:pPr>
              <a:t>‹#›</a:t>
            </a:fld>
            <a:endParaRPr lang="en-US" altLang="ja-JP"/>
          </a:p>
        </p:txBody>
      </p:sp>
      <p:sp>
        <p:nvSpPr>
          <p:cNvPr id="43" name="タイトル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2851482" y="3113706"/>
            <a:ext cx="2162451" cy="492443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lnSpc>
                <a:spcPct val="100000"/>
              </a:lnSpc>
              <a:defRPr sz="3200">
                <a:solidFill>
                  <a:schemeClr val="tx1"/>
                </a:solidFill>
                <a:latin typeface="+mj-lt"/>
                <a:ea typeface="HGP創英角ｺﾞｼｯｸUB" pitchFamily="50" charset="-128"/>
              </a:defRPr>
            </a:lvl1pPr>
          </a:lstStyle>
          <a:p>
            <a:r>
              <a:rPr lang="en-US" altLang="ja-JP" b="1">
                <a:latin typeface="+mj-lt"/>
                <a:cs typeface="Arial" charset="0"/>
              </a:rPr>
              <a:t>Master title</a:t>
            </a:r>
            <a:endParaRPr lang="ja-JP" altLang="en-US"/>
          </a:p>
        </p:txBody>
      </p:sp>
      <p:sp>
        <p:nvSpPr>
          <p:cNvPr id="49" name="テキスト プレースホルダ 48"/>
          <p:cNvSpPr>
            <a:spLocks noGrp="1"/>
          </p:cNvSpPr>
          <p:nvPr userDrawn="1">
            <p:ph type="body" sz="quarter" idx="11" hasCustomPrompt="1"/>
          </p:nvPr>
        </p:nvSpPr>
        <p:spPr bwMode="gray">
          <a:xfrm>
            <a:off x="2851481" y="3656177"/>
            <a:ext cx="1027525" cy="369332"/>
          </a:xfrm>
          <a:prstGeom prst="rect">
            <a:avLst/>
          </a:prstGeom>
        </p:spPr>
        <p:txBody>
          <a:bodyPr wrap="none">
            <a:spAutoFit/>
          </a:bodyPr>
          <a:lstStyle>
            <a:lvl1pPr>
              <a:buNone/>
              <a:defRPr sz="2400"/>
            </a:lvl1pPr>
          </a:lstStyle>
          <a:p>
            <a:pPr lvl="0"/>
            <a:r>
              <a:rPr kumimoji="1" lang="en-US" altLang="ja-JP"/>
              <a:t>Subtitle</a:t>
            </a:r>
            <a:endParaRPr kumimoji="1" lang="ja-JP" altLang="en-US"/>
          </a:p>
        </p:txBody>
      </p:sp>
      <p:grpSp>
        <p:nvGrpSpPr>
          <p:cNvPr id="40" name="グループ化 39"/>
          <p:cNvGrpSpPr/>
          <p:nvPr userDrawn="1"/>
        </p:nvGrpSpPr>
        <p:grpSpPr bwMode="gray">
          <a:xfrm>
            <a:off x="432650" y="2743235"/>
            <a:ext cx="11327551" cy="129984"/>
            <a:chOff x="324487" y="2057426"/>
            <a:chExt cx="8495663" cy="97488"/>
          </a:xfrm>
        </p:grpSpPr>
        <p:sp>
          <p:nvSpPr>
            <p:cNvPr id="45" name="正方形/長方形 11"/>
            <p:cNvSpPr>
              <a:spLocks noChangeArrowheads="1"/>
            </p:cNvSpPr>
            <p:nvPr/>
          </p:nvSpPr>
          <p:spPr bwMode="gray">
            <a:xfrm>
              <a:off x="324489" y="2057426"/>
              <a:ext cx="8495661" cy="97488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2400"/>
            </a:p>
          </p:txBody>
        </p:sp>
        <p:grpSp>
          <p:nvGrpSpPr>
            <p:cNvPr id="46" name="グループ化 16"/>
            <p:cNvGrpSpPr/>
            <p:nvPr/>
          </p:nvGrpSpPr>
          <p:grpSpPr bwMode="gray">
            <a:xfrm>
              <a:off x="324487" y="2057426"/>
              <a:ext cx="1938812" cy="97488"/>
              <a:chOff x="312738" y="2747963"/>
              <a:chExt cx="1970087" cy="109537"/>
            </a:xfrm>
          </p:grpSpPr>
          <p:sp>
            <p:nvSpPr>
              <p:cNvPr id="47" name="正方形/長方形 46"/>
              <p:cNvSpPr/>
              <p:nvPr/>
            </p:nvSpPr>
            <p:spPr bwMode="gray">
              <a:xfrm>
                <a:off x="312738" y="2747963"/>
                <a:ext cx="1970087" cy="109537"/>
              </a:xfrm>
              <a:prstGeom prst="rect">
                <a:avLst/>
              </a:prstGeom>
              <a:solidFill>
                <a:srgbClr val="FF002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24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8" name="正方形/長方形 47"/>
              <p:cNvSpPr/>
              <p:nvPr/>
            </p:nvSpPr>
            <p:spPr bwMode="gray">
              <a:xfrm>
                <a:off x="312738" y="2747963"/>
                <a:ext cx="985837" cy="109537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24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  <p:pic>
        <p:nvPicPr>
          <p:cNvPr id="50" name="図 49" descr="ea60_010_030_dwin.wmf"/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9400874" y="536965"/>
            <a:ext cx="2359327" cy="676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37888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57874-8D75-446D-8DCB-B8F5F0126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47E704-5762-41D1-B23D-5842777A1A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98F0E9-14DA-4AEE-B275-A46564BA9D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4A774-2E75-4989-99B0-C6C738950AE9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DAD25C-BB48-4148-929A-7BC49924A4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9B6A87-7D84-4C37-A5CE-40649F237D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130E1-1364-465D-B4CD-95525F0457E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228062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655D27C4-7AE5-42A4-9F14-75B5DFB7B06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9173" y="727479"/>
            <a:ext cx="9638075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70DACEC3-56E4-4ECA-938E-A0FFA51B5A8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D16F44B-737C-594A-BF20-F49242E080D3}"/>
              </a:ext>
            </a:extLst>
          </p:cNvPr>
          <p:cNvSpPr txBox="1"/>
          <p:nvPr userDrawn="1"/>
        </p:nvSpPr>
        <p:spPr>
          <a:xfrm>
            <a:off x="10392937" y="40144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0D2D61-2E87-B74E-BDD4-D90CA7CB5130}"/>
              </a:ext>
            </a:extLst>
          </p:cNvPr>
          <p:cNvSpPr txBox="1"/>
          <p:nvPr userDrawn="1"/>
        </p:nvSpPr>
        <p:spPr>
          <a:xfrm>
            <a:off x="9219156" y="651353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9075443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FE4C572-EDBC-4824-9A79-F7F561928C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E120334-8DCE-4DCC-87EC-758638897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E61C14-220E-4A91-B7B7-5586CB7547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30304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55207655-88F8-422D-B6DA-37B35CAE727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179" y="-57235"/>
            <a:ext cx="14089589" cy="6915235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3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5C8CBF-0DA7-4D03-A2A5-A0821FBAC38B}"/>
              </a:ext>
            </a:extLst>
          </p:cNvPr>
          <p:cNvSpPr/>
          <p:nvPr userDrawn="1"/>
        </p:nvSpPr>
        <p:spPr>
          <a:xfrm>
            <a:off x="3177" y="2806811"/>
            <a:ext cx="12188824" cy="4051191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55000"/>
                </a:srgbClr>
              </a:gs>
              <a:gs pos="100000">
                <a:srgbClr val="000000">
                  <a:alpha val="3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60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8624" y="5861891"/>
            <a:ext cx="1089793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8624" y="4762816"/>
            <a:ext cx="10897937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8624" y="3294407"/>
            <a:ext cx="10897937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39" name="Picture 36">
            <a:extLst>
              <a:ext uri="{FF2B5EF4-FFF2-40B4-BE49-F238E27FC236}">
                <a16:creationId xmlns:a16="http://schemas.microsoft.com/office/drawing/2014/main" id="{B9E0F882-9D82-48BB-8508-5E570310CA53}"/>
              </a:ext>
            </a:extLst>
          </p:cNvPr>
          <p:cNvSpPr>
            <a:spLocks/>
          </p:cNvSpPr>
          <p:nvPr userDrawn="1"/>
        </p:nvSpPr>
        <p:spPr>
          <a:xfrm>
            <a:off x="-1" y="2"/>
            <a:ext cx="12192001" cy="1145895"/>
          </a:xfrm>
          <a:prstGeom prst="rect">
            <a:avLst/>
          </a:prstGeom>
          <a:gradFill flip="none" rotWithShape="1">
            <a:gsLst>
              <a:gs pos="0">
                <a:srgbClr val="1F497D">
                  <a:alpha val="40000"/>
                </a:srgbClr>
              </a:gs>
              <a:gs pos="100000">
                <a:srgbClr val="1F497D">
                  <a:alpha val="0"/>
                </a:srgb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354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GB" sz="2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HGPｺﾞｼｯｸE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631BEDA-FF95-4B0E-9765-01CB688B32B1}"/>
              </a:ext>
            </a:extLst>
          </p:cNvPr>
          <p:cNvGrpSpPr/>
          <p:nvPr userDrawn="1"/>
        </p:nvGrpSpPr>
        <p:grpSpPr>
          <a:xfrm>
            <a:off x="9631363" y="295449"/>
            <a:ext cx="1915197" cy="547387"/>
            <a:chOff x="2751138" y="3262313"/>
            <a:chExt cx="4665662" cy="1333500"/>
          </a:xfrm>
          <a:solidFill>
            <a:srgbClr val="FFFFFF"/>
          </a:solidFill>
        </p:grpSpPr>
        <p:sp>
          <p:nvSpPr>
            <p:cNvPr id="11" name="Freeform 1">
              <a:extLst>
                <a:ext uri="{FF2B5EF4-FFF2-40B4-BE49-F238E27FC236}">
                  <a16:creationId xmlns:a16="http://schemas.microsoft.com/office/drawing/2014/main" id="{28826816-EE87-495B-82F6-30A8B6235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2">
              <a:extLst>
                <a:ext uri="{FF2B5EF4-FFF2-40B4-BE49-F238E27FC236}">
                  <a16:creationId xmlns:a16="http://schemas.microsoft.com/office/drawing/2014/main" id="{B178C594-A40C-4AC8-9151-3803FEA3CB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3">
              <a:extLst>
                <a:ext uri="{FF2B5EF4-FFF2-40B4-BE49-F238E27FC236}">
                  <a16:creationId xmlns:a16="http://schemas.microsoft.com/office/drawing/2014/main" id="{EDDC1B1E-DDDE-4C21-9A1B-DC3634EBD3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FB01EF76-C7CE-4B36-9569-B161C7FF8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118BC77-642F-4656-B0EB-0C2963056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1FAED86F-C42D-4CFE-BC79-8596C2806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FAD3BED-44A4-46E1-AE69-F33F4FBD5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21428370-4CFB-4D8F-A8D9-0215DAA65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7914F069-0F4D-4476-B12D-015CE6F7E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1F0506B-D8BE-403D-A60E-104CF2940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D33D27E-6BF1-43C0-AD07-695FCAE0D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12F30732-F82B-4674-ACCA-62F995D0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8BEC718E-314C-4695-AA84-6C282C0A1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9F2351-5EFC-484F-815B-398F31CD6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959BFC36-3832-45B4-8CE8-EC15383E96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D81593FD-B89B-4431-89D6-0CD6D3F44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36EDA422-8C0E-4309-A77B-40EF81FCC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8AFD84B5-761F-4DA3-A5ED-3449BD933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E98B1DC3-6F69-4825-92B4-91C6102B4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24F37235-66EE-4350-9454-D07B2F8B3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6884801B-FBDA-4202-BB88-C4C18427F5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EAF350DF-2433-494E-969C-A445551B2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E9E748F5-83FA-4114-922E-1A8501EB6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rgbClr val="FF0026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72105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2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84AFD2-A143-4CC9-98BB-04DD513A7F39}"/>
              </a:ext>
            </a:extLst>
          </p:cNvPr>
          <p:cNvSpPr/>
          <p:nvPr userDrawn="1"/>
        </p:nvSpPr>
        <p:spPr>
          <a:xfrm>
            <a:off x="6693499" y="0"/>
            <a:ext cx="5498503" cy="6858000"/>
          </a:xfrm>
          <a:prstGeom prst="rect">
            <a:avLst/>
          </a:prstGeom>
          <a:gradFill>
            <a:gsLst>
              <a:gs pos="0">
                <a:srgbClr val="000519"/>
              </a:gs>
              <a:gs pos="51300">
                <a:srgbClr val="011635"/>
              </a:gs>
              <a:gs pos="100000">
                <a:srgbClr val="00061C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Picture 36">
            <a:extLst>
              <a:ext uri="{FF2B5EF4-FFF2-40B4-BE49-F238E27FC236}">
                <a16:creationId xmlns:a16="http://schemas.microsoft.com/office/drawing/2014/main" id="{5C8D8DA0-8D1B-438E-8282-C04A1050210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6858000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934896" y="4782519"/>
            <a:ext cx="461166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934896" y="3556222"/>
            <a:ext cx="461166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934896" y="1960592"/>
            <a:ext cx="4611665" cy="9848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6" name="Group 9">
            <a:extLst>
              <a:ext uri="{FF2B5EF4-FFF2-40B4-BE49-F238E27FC236}">
                <a16:creationId xmlns:a16="http://schemas.microsoft.com/office/drawing/2014/main" id="{8989296D-7170-42C4-8A88-679FE8B6F4C1}"/>
              </a:ext>
            </a:extLst>
          </p:cNvPr>
          <p:cNvGrpSpPr>
            <a:grpSpLocks/>
          </p:cNvGrpSpPr>
          <p:nvPr userDrawn="1"/>
        </p:nvGrpSpPr>
        <p:grpSpPr>
          <a:xfrm>
            <a:off x="9631363" y="295449"/>
            <a:ext cx="1915197" cy="547387"/>
            <a:chOff x="10442064" y="193144"/>
            <a:chExt cx="1195200" cy="342857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BB305E9-F3A3-44CB-8105-18F9A83E1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121298C4-B34B-496F-94A6-9EAF50907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554D1A4E-B263-4497-AEDC-15C4E297C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748D8BD-8940-4F6D-B130-8DDD0F54C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2A24C42C-EF18-44C0-9598-DAA2AAA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5EE7EF9-28CC-48BC-B492-10EB9D9E3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B86252D-A02D-4696-9CA5-ADE8CBF68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23C83CBF-9F08-422E-A373-FED5A59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9DCB696C-1FD4-4F79-95B0-D0A60F5FC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E87DFD81-4EE8-4559-A1DD-F75353F7B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62F97CD0-8F28-4E7D-BD58-01B306C55D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4D8D9399-8BA9-4B84-B8C5-00B4A29D1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26536AF-9601-4D71-B176-97AD8736F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43D49A91-2B57-409C-85CA-690F759BF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3" name="Freeform 33">
              <a:extLst>
                <a:ext uri="{FF2B5EF4-FFF2-40B4-BE49-F238E27FC236}">
                  <a16:creationId xmlns:a16="http://schemas.microsoft.com/office/drawing/2014/main" id="{26F07A77-3999-4D79-9B6A-6FADE6439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60832319-67DB-48A5-96FB-54AAE8024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1C1EC265-97D1-4E37-94C3-77BEAFB0A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6" name="Freeform 41">
              <a:extLst>
                <a:ext uri="{FF2B5EF4-FFF2-40B4-BE49-F238E27FC236}">
                  <a16:creationId xmlns:a16="http://schemas.microsoft.com/office/drawing/2014/main" id="{04382C6D-E6CA-43F6-BA84-D552A3BF1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97C461F7-D118-455F-B582-44501E731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EECF614E-72ED-4285-B269-9E242CBA9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7985E08B-C7C5-4EB5-B672-880F69B7D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8BA75A78-1E01-420D-8605-0237BB681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C2D7E264-BB0B-413B-8F57-1E29A0C9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174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4248673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5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655D27C4-7AE5-42A4-9F14-75B5DFB7B06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9173" y="727481"/>
            <a:ext cx="9638075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70DACEC3-56E4-4ECA-938E-A0FFA51B5A8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1257CA2-605F-EB46-BCC1-690AA4CA4151}"/>
              </a:ext>
            </a:extLst>
          </p:cNvPr>
          <p:cNvSpPr txBox="1"/>
          <p:nvPr userDrawn="1"/>
        </p:nvSpPr>
        <p:spPr>
          <a:xfrm>
            <a:off x="10341864" y="6556248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35195151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644CC54F-ADA2-4EB4-A84F-CC5C5E7A9F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06566"/>
            <a:ext cx="3813048" cy="5539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753E4D82-0260-497C-82C7-785EC0A360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3174201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21322DD-B6C1-4397-8AE9-EAEE4FAECBA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098143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39FA7C6F-53DA-49ED-98FC-887B92699DA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66734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5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44B92A2-C1B0-4AC9-A7C0-53DEFFC614B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688193"/>
            <a:ext cx="110825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1E5EECD-623E-48AC-AE54-4409675F3B2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430776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A300DB1-655A-4B10-87CE-7FEB7C3799D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505712" y="3694730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“Click to add quot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8439C94-2B41-43AD-B19D-BF30E38113F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505712" y="4284633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GB"/>
              <a:t>Click to add quote sourc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5C114D3-9D44-48F1-863C-013FB4D60AD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3409390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E1A0B62-2B6C-4FF9-A975-9BA0332492A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2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01A8AA77-6173-4971-9FD5-1DF82105AEB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61CAC2-B39D-4E86-A2F1-D28DD7307E28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DB2C2E02-8C1A-47C7-8530-05E6E1CEDA4C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74117F41-B002-47E4-A926-D4F67357ED0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01828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2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8" y="6498757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024CA71C-CCFC-4B02-A497-BECC718A6C1D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2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F946D0E6-3878-4303-AC37-349BD3D79C8E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DF26D2C-DD00-4C21-8464-B15BFF99E7F3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90253C0C-7AFB-4123-B14B-F667C295884F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C50CEB0-070E-4A14-A051-2F64950B1139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1727347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DCA687EF-EF5B-4022-A09F-5B2A8396F42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81"/>
            <a:ext cx="5065776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16BFDB67-225B-4C3A-9716-C62432E4963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2CE331-91FA-4A64-BCCF-0526B3CAE3CB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E4F47CC9-851E-42CE-8780-F210BECDDABE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A74329D3-F232-4743-B989-95CF817A7A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430447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BF174B-757B-4AF1-9228-F589796B8E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595C20D-7BB3-41C1-AD37-0FD66084F2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747073-F92B-411B-AEB9-16F8C74C7F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E149FC3-F450-4AC1-9D3F-1479ECF60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C205FE-EA07-43A9-8D6E-6A274637BF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3AD0C45-2191-4C15-9598-161CFA5495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1139225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77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81"/>
            <a:ext cx="69677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2FCAA72-3183-4290-A338-71ED0E818A6D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26247320-66BE-47DC-B3AB-5BF308DA048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F218E96E-7F2B-4412-9C99-DCEDEE1F6F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640543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noProof="0"/>
              <a:t>Source: …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C00F2727-7798-4387-B10A-510A1587B2A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81"/>
            <a:ext cx="7918704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pic>
        <p:nvPicPr>
          <p:cNvPr id="17" name="図 71" descr="ea60_010_030_dwin.wmf">
            <a:extLst>
              <a:ext uri="{FF2B5EF4-FFF2-40B4-BE49-F238E27FC236}">
                <a16:creationId xmlns:a16="http://schemas.microsoft.com/office/drawing/2014/main" id="{EE739AD0-CA3F-40D4-84F5-356C36A17007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74C71863-F328-4C87-9B4A-6C4870F48A93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EC0D836F-68FF-4058-B4D6-C0223329F5A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F032DEAC-7D7B-42D8-8AEE-5F531F2ACC3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0503228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6" y="6498756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pic>
        <p:nvPicPr>
          <p:cNvPr id="30" name="図 71" descr="ea60_010_030_dwin.wmf">
            <a:extLst>
              <a:ext uri="{FF2B5EF4-FFF2-40B4-BE49-F238E27FC236}">
                <a16:creationId xmlns:a16="http://schemas.microsoft.com/office/drawing/2014/main" id="{0483EF94-44AB-410C-8E53-97AD125BC026}"/>
              </a:ext>
            </a:extLst>
          </p:cNvPr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0980" y="2939895"/>
            <a:ext cx="3410045" cy="97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07786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753534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9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6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6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7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80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4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A1D57C39-052D-4D97-BF5C-F877BAC7929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602495"/>
            <a:ext cx="6967728" cy="27699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800" b="0" dirty="0">
                <a:solidFill>
                  <a:srgbClr val="808080"/>
                </a:solidFill>
                <a:latin typeface="+mj-lt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2FDE84AE-E1A5-48AE-ADE3-598E7428DA1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6"/>
            <a:ext cx="1195200" cy="34285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E76F8E8-FFE2-4E36-AA9E-7A1A6D26276A}"/>
              </a:ext>
            </a:extLst>
          </p:cNvPr>
          <p:cNvSpPr txBox="1"/>
          <p:nvPr userDrawn="1"/>
        </p:nvSpPr>
        <p:spPr>
          <a:xfrm>
            <a:off x="9384308" y="6498757"/>
            <a:ext cx="19043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r"/>
            <a:r>
              <a:rPr lang="en-US" sz="800"/>
              <a:t>© Hitachi, Ltd. 2020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445678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26735"/>
            <a:ext cx="11082528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7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71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2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1289268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10219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9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626734"/>
            <a:ext cx="11082528" cy="2769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21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131866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682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1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626734"/>
            <a:ext cx="11082528" cy="276999"/>
          </a:xfrm>
        </p:spPr>
        <p:txBody>
          <a:bodyPr/>
          <a:lstStyle>
            <a:lvl1pPr>
              <a:defRPr>
                <a:latin typeface="Bahnschrift SemiBold" panose="020B0502040204020203" pitchFamily="34" charset="0"/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6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  <a:latin typeface="Bahnschrift Light" panose="020B0502040204020203" pitchFamily="34" charset="0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6" y="6501670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8263179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914400" y="3323452"/>
            <a:ext cx="10363200" cy="276999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E94CFC-4FB7-9446-A39A-7BE91C676236}" type="datetimeFigureOut">
              <a:rPr kumimoji="1" lang="ja-JP" altLang="en-US" smtClean="0"/>
              <a:t>2022/2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354F9-42B6-7540-AD90-C5DA6764E1B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746875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>
            <a:extLst>
              <a:ext uri="{FF2B5EF4-FFF2-40B4-BE49-F238E27FC236}">
                <a16:creationId xmlns:a16="http://schemas.microsoft.com/office/drawing/2014/main" id="{95F4B09E-7756-CC48-8706-39CC427F9649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72000"/>
          </a:blip>
          <a:stretch>
            <a:fillRect/>
          </a:stretch>
        </p:blipFill>
        <p:spPr>
          <a:xfrm>
            <a:off x="7034" y="906827"/>
            <a:ext cx="12192000" cy="5762294"/>
          </a:xfrm>
          <a:prstGeom prst="rect">
            <a:avLst/>
          </a:prstGeom>
        </p:spPr>
      </p:pic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6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C5C8CBF-0DA7-4D03-A2A5-A0821FBAC38B}"/>
              </a:ext>
            </a:extLst>
          </p:cNvPr>
          <p:cNvSpPr/>
          <p:nvPr userDrawn="1"/>
        </p:nvSpPr>
        <p:spPr>
          <a:xfrm>
            <a:off x="3177" y="2806810"/>
            <a:ext cx="12188824" cy="4051191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55000"/>
                </a:srgbClr>
              </a:gs>
              <a:gs pos="100000">
                <a:srgbClr val="000000">
                  <a:alpha val="3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6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8622" y="5861891"/>
            <a:ext cx="1089793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48622" y="4762814"/>
            <a:ext cx="10897937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48622" y="3294406"/>
            <a:ext cx="10897937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4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39" name="Picture 36">
            <a:extLst>
              <a:ext uri="{FF2B5EF4-FFF2-40B4-BE49-F238E27FC236}">
                <a16:creationId xmlns:a16="http://schemas.microsoft.com/office/drawing/2014/main" id="{B9E0F882-9D82-48BB-8508-5E570310CA53}"/>
              </a:ext>
            </a:extLst>
          </p:cNvPr>
          <p:cNvSpPr>
            <a:spLocks/>
          </p:cNvSpPr>
          <p:nvPr userDrawn="1"/>
        </p:nvSpPr>
        <p:spPr>
          <a:xfrm>
            <a:off x="-7035" y="921685"/>
            <a:ext cx="12192001" cy="1145895"/>
          </a:xfrm>
          <a:prstGeom prst="rect">
            <a:avLst/>
          </a:prstGeom>
          <a:gradFill flip="none" rotWithShape="1">
            <a:gsLst>
              <a:gs pos="0">
                <a:srgbClr val="1F497D">
                  <a:alpha val="40000"/>
                </a:srgbClr>
              </a:gs>
              <a:gs pos="100000">
                <a:srgbClr val="1F497D">
                  <a:alpha val="0"/>
                </a:srgbClr>
              </a:gs>
            </a:gsLst>
            <a:lin ang="5400000" scaled="0"/>
            <a:tileRect/>
          </a:gradFill>
          <a:ln w="25400" cap="flat" cmpd="sng" algn="ctr">
            <a:noFill/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377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GB" sz="2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HGPｺﾞｼｯｸE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631BEDA-FF95-4B0E-9765-01CB688B32B1}"/>
              </a:ext>
            </a:extLst>
          </p:cNvPr>
          <p:cNvGrpSpPr/>
          <p:nvPr userDrawn="1"/>
        </p:nvGrpSpPr>
        <p:grpSpPr>
          <a:xfrm>
            <a:off x="9631362" y="295448"/>
            <a:ext cx="1915197" cy="547387"/>
            <a:chOff x="2751138" y="3262313"/>
            <a:chExt cx="4665662" cy="1333500"/>
          </a:xfrm>
          <a:solidFill>
            <a:srgbClr val="FFFFFF"/>
          </a:solidFill>
        </p:grpSpPr>
        <p:sp>
          <p:nvSpPr>
            <p:cNvPr id="11" name="Freeform 1">
              <a:extLst>
                <a:ext uri="{FF2B5EF4-FFF2-40B4-BE49-F238E27FC236}">
                  <a16:creationId xmlns:a16="http://schemas.microsoft.com/office/drawing/2014/main" id="{28826816-EE87-495B-82F6-30A8B62351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2" name="Freeform 2">
              <a:extLst>
                <a:ext uri="{FF2B5EF4-FFF2-40B4-BE49-F238E27FC236}">
                  <a16:creationId xmlns:a16="http://schemas.microsoft.com/office/drawing/2014/main" id="{B178C594-A40C-4AC8-9151-3803FEA3CB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3" name="Freeform 3">
              <a:extLst>
                <a:ext uri="{FF2B5EF4-FFF2-40B4-BE49-F238E27FC236}">
                  <a16:creationId xmlns:a16="http://schemas.microsoft.com/office/drawing/2014/main" id="{EDDC1B1E-DDDE-4C21-9A1B-DC3634EBD3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4" name="Freeform 4">
              <a:extLst>
                <a:ext uri="{FF2B5EF4-FFF2-40B4-BE49-F238E27FC236}">
                  <a16:creationId xmlns:a16="http://schemas.microsoft.com/office/drawing/2014/main" id="{FB01EF76-C7CE-4B36-9569-B161C7FF84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2118BC77-642F-4656-B0EB-0C29630561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1FAED86F-C42D-4CFE-BC79-8596C28068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FAD3BED-44A4-46E1-AE69-F33F4FBD5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21428370-4CFB-4D8F-A8D9-0215DAA6507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7914F069-0F4D-4476-B12D-015CE6F7E2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B1F0506B-D8BE-403D-A60E-104CF29406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5D33D27E-6BF1-43C0-AD07-695FCAE0DCF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12F30732-F82B-4674-ACCA-62F995D090D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8BEC718E-314C-4695-AA84-6C282C0A10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FB9F2351-5EFC-484F-815B-398F31CD65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8" name="Freeform 15">
              <a:extLst>
                <a:ext uri="{FF2B5EF4-FFF2-40B4-BE49-F238E27FC236}">
                  <a16:creationId xmlns:a16="http://schemas.microsoft.com/office/drawing/2014/main" id="{959BFC36-3832-45B4-8CE8-EC15383E96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29" name="Freeform 16">
              <a:extLst>
                <a:ext uri="{FF2B5EF4-FFF2-40B4-BE49-F238E27FC236}">
                  <a16:creationId xmlns:a16="http://schemas.microsoft.com/office/drawing/2014/main" id="{D81593FD-B89B-4431-89D6-0CD6D3F441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0" name="Freeform 17">
              <a:extLst>
                <a:ext uri="{FF2B5EF4-FFF2-40B4-BE49-F238E27FC236}">
                  <a16:creationId xmlns:a16="http://schemas.microsoft.com/office/drawing/2014/main" id="{36EDA422-8C0E-4309-A77B-40EF81FCC8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1" name="Freeform 18">
              <a:extLst>
                <a:ext uri="{FF2B5EF4-FFF2-40B4-BE49-F238E27FC236}">
                  <a16:creationId xmlns:a16="http://schemas.microsoft.com/office/drawing/2014/main" id="{8AFD84B5-761F-4DA3-A5ED-3449BD9339F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2" name="Freeform 19">
              <a:extLst>
                <a:ext uri="{FF2B5EF4-FFF2-40B4-BE49-F238E27FC236}">
                  <a16:creationId xmlns:a16="http://schemas.microsoft.com/office/drawing/2014/main" id="{E98B1DC3-6F69-4825-92B4-91C6102B4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3" name="Freeform 20">
              <a:extLst>
                <a:ext uri="{FF2B5EF4-FFF2-40B4-BE49-F238E27FC236}">
                  <a16:creationId xmlns:a16="http://schemas.microsoft.com/office/drawing/2014/main" id="{24F37235-66EE-4350-9454-D07B2F8B3A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4" name="Freeform 21">
              <a:extLst>
                <a:ext uri="{FF2B5EF4-FFF2-40B4-BE49-F238E27FC236}">
                  <a16:creationId xmlns:a16="http://schemas.microsoft.com/office/drawing/2014/main" id="{6884801B-FBDA-4202-BB88-C4C18427F5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5" name="Freeform 22">
              <a:extLst>
                <a:ext uri="{FF2B5EF4-FFF2-40B4-BE49-F238E27FC236}">
                  <a16:creationId xmlns:a16="http://schemas.microsoft.com/office/drawing/2014/main" id="{EAF350DF-2433-494E-969C-A445551B27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  <p:sp>
          <p:nvSpPr>
            <p:cNvPr id="36" name="Freeform 23">
              <a:extLst>
                <a:ext uri="{FF2B5EF4-FFF2-40B4-BE49-F238E27FC236}">
                  <a16:creationId xmlns:a16="http://schemas.microsoft.com/office/drawing/2014/main" id="{E9E748F5-83FA-4114-922E-1A8501EB65E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rgbClr val="FF0026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2600" dirty="0">
                <a:solidFill>
                  <a:srgbClr val="414141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08571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614EB0-4973-4DFE-BB5F-5466129870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E19443F-CD8F-455D-8D33-F39A8086F4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7D7481-B9EA-44E8-BC88-1DC3D7A16B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C4A8E6-C5FA-42B5-8D06-F76B25D59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6BF2E2D-0250-4983-B693-0713314FC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B119BD-41D0-4B1E-9CD2-CB0CA6C2D8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163712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2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84AFD2-A143-4CC9-98BB-04DD513A7F39}"/>
              </a:ext>
            </a:extLst>
          </p:cNvPr>
          <p:cNvSpPr/>
          <p:nvPr userDrawn="1"/>
        </p:nvSpPr>
        <p:spPr>
          <a:xfrm>
            <a:off x="6693498" y="0"/>
            <a:ext cx="5498503" cy="6858000"/>
          </a:xfrm>
          <a:prstGeom prst="rect">
            <a:avLst/>
          </a:prstGeom>
          <a:gradFill>
            <a:gsLst>
              <a:gs pos="0">
                <a:srgbClr val="000519"/>
              </a:gs>
              <a:gs pos="51300">
                <a:srgbClr val="011635"/>
              </a:gs>
              <a:gs pos="100000">
                <a:srgbClr val="00061C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0" name="Picture 36">
            <a:extLst>
              <a:ext uri="{FF2B5EF4-FFF2-40B4-BE49-F238E27FC236}">
                <a16:creationId xmlns:a16="http://schemas.microsoft.com/office/drawing/2014/main" id="{5C8D8DA0-8D1B-438E-8282-C04A10502106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6858000" cy="6858000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934894" y="4782519"/>
            <a:ext cx="461166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6934894" y="3556221"/>
            <a:ext cx="461166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bg2"/>
                </a:solidFill>
              </a:defRPr>
            </a:lvl1pPr>
          </a:lstStyle>
          <a:p>
            <a:pPr lvl="0">
              <a:buNone/>
            </a:pPr>
            <a:r>
              <a:rPr lang="en-GB" dirty="0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6934894" y="1960592"/>
            <a:ext cx="4611665" cy="98488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200" dirty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grpSp>
        <p:nvGrpSpPr>
          <p:cNvPr id="36" name="Group 9">
            <a:extLst>
              <a:ext uri="{FF2B5EF4-FFF2-40B4-BE49-F238E27FC236}">
                <a16:creationId xmlns:a16="http://schemas.microsoft.com/office/drawing/2014/main" id="{8989296D-7170-42C4-8A88-679FE8B6F4C1}"/>
              </a:ext>
            </a:extLst>
          </p:cNvPr>
          <p:cNvGrpSpPr>
            <a:grpSpLocks/>
          </p:cNvGrpSpPr>
          <p:nvPr userDrawn="1"/>
        </p:nvGrpSpPr>
        <p:grpSpPr>
          <a:xfrm>
            <a:off x="9631362" y="295448"/>
            <a:ext cx="1915197" cy="547387"/>
            <a:chOff x="10442064" y="193144"/>
            <a:chExt cx="1195200" cy="342857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BBB305E9-F3A3-44CB-8105-18F9A83E1D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121298C4-B34B-496F-94A6-9EAF509078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554D1A4E-B263-4497-AEDC-15C4E297C2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4748D8BD-8940-4F6D-B130-8DDD0F54CE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2A24C42C-EF18-44C0-9598-DAA2AAA9A55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5EE7EF9-28CC-48BC-B492-10EB9D9E3A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5" name="Freeform 27">
              <a:extLst>
                <a:ext uri="{FF2B5EF4-FFF2-40B4-BE49-F238E27FC236}">
                  <a16:creationId xmlns:a16="http://schemas.microsoft.com/office/drawing/2014/main" id="{AB86252D-A02D-4696-9CA5-ADE8CBF685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6" name="Freeform 28">
              <a:extLst>
                <a:ext uri="{FF2B5EF4-FFF2-40B4-BE49-F238E27FC236}">
                  <a16:creationId xmlns:a16="http://schemas.microsoft.com/office/drawing/2014/main" id="{23C83CBF-9F08-422E-A373-FED5A59D3D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7" name="Freeform 29">
              <a:extLst>
                <a:ext uri="{FF2B5EF4-FFF2-40B4-BE49-F238E27FC236}">
                  <a16:creationId xmlns:a16="http://schemas.microsoft.com/office/drawing/2014/main" id="{9DCB696C-1FD4-4F79-95B0-D0A60F5FC1F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8" name="Freeform 22">
              <a:extLst>
                <a:ext uri="{FF2B5EF4-FFF2-40B4-BE49-F238E27FC236}">
                  <a16:creationId xmlns:a16="http://schemas.microsoft.com/office/drawing/2014/main" id="{E87DFD81-4EE8-4559-A1DD-F75353F7B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49" name="Freeform 31">
              <a:extLst>
                <a:ext uri="{FF2B5EF4-FFF2-40B4-BE49-F238E27FC236}">
                  <a16:creationId xmlns:a16="http://schemas.microsoft.com/office/drawing/2014/main" id="{62F97CD0-8F28-4E7D-BD58-01B306C55D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0" name="Freeform 27">
              <a:extLst>
                <a:ext uri="{FF2B5EF4-FFF2-40B4-BE49-F238E27FC236}">
                  <a16:creationId xmlns:a16="http://schemas.microsoft.com/office/drawing/2014/main" id="{4D8D9399-8BA9-4B84-B8C5-00B4A29D1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1" name="Freeform 29">
              <a:extLst>
                <a:ext uri="{FF2B5EF4-FFF2-40B4-BE49-F238E27FC236}">
                  <a16:creationId xmlns:a16="http://schemas.microsoft.com/office/drawing/2014/main" id="{826536AF-9601-4D71-B176-97AD8736F3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2" name="Freeform 31">
              <a:extLst>
                <a:ext uri="{FF2B5EF4-FFF2-40B4-BE49-F238E27FC236}">
                  <a16:creationId xmlns:a16="http://schemas.microsoft.com/office/drawing/2014/main" id="{43D49A91-2B57-409C-85CA-690F759BF1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3" name="Freeform 33">
              <a:extLst>
                <a:ext uri="{FF2B5EF4-FFF2-40B4-BE49-F238E27FC236}">
                  <a16:creationId xmlns:a16="http://schemas.microsoft.com/office/drawing/2014/main" id="{26F07A77-3999-4D79-9B6A-6FADE64397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4" name="Freeform 36">
              <a:extLst>
                <a:ext uri="{FF2B5EF4-FFF2-40B4-BE49-F238E27FC236}">
                  <a16:creationId xmlns:a16="http://schemas.microsoft.com/office/drawing/2014/main" id="{60832319-67DB-48A5-96FB-54AAE8024A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5" name="Freeform 38">
              <a:extLst>
                <a:ext uri="{FF2B5EF4-FFF2-40B4-BE49-F238E27FC236}">
                  <a16:creationId xmlns:a16="http://schemas.microsoft.com/office/drawing/2014/main" id="{1C1EC265-97D1-4E37-94C3-77BEAFB0A2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6" name="Freeform 41">
              <a:extLst>
                <a:ext uri="{FF2B5EF4-FFF2-40B4-BE49-F238E27FC236}">
                  <a16:creationId xmlns:a16="http://schemas.microsoft.com/office/drawing/2014/main" id="{04382C6D-E6CA-43F6-BA84-D552A3BF1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7" name="Freeform 43">
              <a:extLst>
                <a:ext uri="{FF2B5EF4-FFF2-40B4-BE49-F238E27FC236}">
                  <a16:creationId xmlns:a16="http://schemas.microsoft.com/office/drawing/2014/main" id="{97C461F7-D118-455F-B582-44501E73153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8" name="Freeform 45">
              <a:extLst>
                <a:ext uri="{FF2B5EF4-FFF2-40B4-BE49-F238E27FC236}">
                  <a16:creationId xmlns:a16="http://schemas.microsoft.com/office/drawing/2014/main" id="{EECF614E-72ED-4285-B269-9E242CBA94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59" name="Freeform 48">
              <a:extLst>
                <a:ext uri="{FF2B5EF4-FFF2-40B4-BE49-F238E27FC236}">
                  <a16:creationId xmlns:a16="http://schemas.microsoft.com/office/drawing/2014/main" id="{7985E08B-C7C5-4EB5-B672-880F69B7DE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8BA75A78-1E01-420D-8605-0237BB6819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rgbClr val="FFFF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C2D7E264-BB0B-413B-8F57-1E29A0C95F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defTabSz="914197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1585557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17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655D27C4-7AE5-42A4-9F14-75B5DFB7B06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29173" y="727479"/>
            <a:ext cx="9638075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70DACEC3-56E4-4ECA-938E-A0FFA51B5A8C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D16F44B-737C-594A-BF20-F49242E080D3}"/>
              </a:ext>
            </a:extLst>
          </p:cNvPr>
          <p:cNvSpPr txBox="1"/>
          <p:nvPr userDrawn="1"/>
        </p:nvSpPr>
        <p:spPr>
          <a:xfrm>
            <a:off x="10392937" y="40144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B0D2D61-2E87-B74E-BDD4-D90CA7CB5130}"/>
              </a:ext>
            </a:extLst>
          </p:cNvPr>
          <p:cNvSpPr txBox="1"/>
          <p:nvPr userDrawn="1"/>
        </p:nvSpPr>
        <p:spPr>
          <a:xfrm>
            <a:off x="9219156" y="651353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85168026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644CC54F-ADA2-4EB4-A84F-CC5C5E7A9FA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06564"/>
            <a:ext cx="3813048" cy="2769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753E4D82-0260-497C-82C7-785EC0A360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93567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6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421322DD-B6C1-4397-8AE9-EAEE4FAECBA9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3098142"/>
            <a:ext cx="5065776" cy="276999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39FA7C6F-53DA-49ED-98FC-887B92699DAC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03237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8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244B92A2-C1B0-4AC9-A7C0-53DEFFC614B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4688191"/>
            <a:ext cx="110825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1E5EECD-623E-48AC-AE54-4409675F3B24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4588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498755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BA300DB1-655A-4B10-87CE-7FEB7C3799D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1505712" y="3694729"/>
            <a:ext cx="9180576" cy="3847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“Click to add quot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E8439C94-2B41-43AD-B19D-BF30E38113F1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7"/>
            </p:custDataLst>
          </p:nvPr>
        </p:nvSpPr>
        <p:spPr>
          <a:xfrm>
            <a:off x="1505712" y="4284631"/>
            <a:ext cx="918057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>
                <a:latin typeface="+mj-lt"/>
              </a:defRPr>
            </a:lvl1pPr>
          </a:lstStyle>
          <a:p>
            <a:pPr lvl="0">
              <a:buNone/>
            </a:pPr>
            <a:r>
              <a:rPr lang="en-GB"/>
              <a:t>Click to add quote source</a:t>
            </a:r>
            <a:endParaRPr lang="en-GB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5C114D3-9D44-48F1-863C-013FB4D60AD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658163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AE1A0B62-2B6C-4FF9-A975-9BA0332492A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0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01A8AA77-6173-4971-9FD5-1DF82105AEB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61CAC2-B39D-4E86-A2F1-D28DD7307E28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 dirty="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DB2C2E02-8C1A-47C7-8530-05E6E1CEDA4C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74117F41-B002-47E4-A926-D4F67357ED0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641980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7" y="6498755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024CA71C-CCFC-4B02-A497-BECC718A6C1D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F946D0E6-3878-4303-AC37-349BD3D79C8E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DF26D2C-DD00-4C21-8464-B15BFF99E7F3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 dirty="0"/>
              <a:t>© Hitachi Europe Ltd. 2020. All rights reserved.</a:t>
            </a:r>
          </a:p>
        </p:txBody>
      </p:sp>
      <p:sp>
        <p:nvSpPr>
          <p:cNvPr id="16" name="Freeform 23">
            <a:extLst>
              <a:ext uri="{FF2B5EF4-FFF2-40B4-BE49-F238E27FC236}">
                <a16:creationId xmlns:a16="http://schemas.microsoft.com/office/drawing/2014/main" id="{90253C0C-7AFB-4123-B14B-F667C295884F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CC50CEB0-070E-4A14-A051-2F64950B1139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18243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DCA687EF-EF5B-4022-A09F-5B2A8396F42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5065776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14" name="図 71" descr="ea60_010_030_dwin.wmf">
            <a:extLst>
              <a:ext uri="{FF2B5EF4-FFF2-40B4-BE49-F238E27FC236}">
                <a16:creationId xmlns:a16="http://schemas.microsoft.com/office/drawing/2014/main" id="{16BFDB67-225B-4C3A-9716-C62432E49636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F2CE331-91FA-4A64-BCCF-0526B3CAE3CB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 dirty="0"/>
              <a:t>© Hitachi Europe Ltd. 2020. All rights reserved.</a:t>
            </a:r>
          </a:p>
        </p:txBody>
      </p:sp>
      <p:sp>
        <p:nvSpPr>
          <p:cNvPr id="19" name="Freeform 23">
            <a:extLst>
              <a:ext uri="{FF2B5EF4-FFF2-40B4-BE49-F238E27FC236}">
                <a16:creationId xmlns:a16="http://schemas.microsoft.com/office/drawing/2014/main" id="{E4F47CC9-851E-42CE-8780-F210BECDDABE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A74329D3-F232-4743-B989-95CF817A7A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193413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09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600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458872" y="6498755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8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8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5" y="6498755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 dirty="0"/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43703303-9E35-4DA7-A380-C0F3CEA83F7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29175" y="727479"/>
            <a:ext cx="6967728" cy="2769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pic>
        <p:nvPicPr>
          <p:cNvPr id="27" name="図 71" descr="ea60_010_030_dwin.wmf">
            <a:extLst>
              <a:ext uri="{FF2B5EF4-FFF2-40B4-BE49-F238E27FC236}">
                <a16:creationId xmlns:a16="http://schemas.microsoft.com/office/drawing/2014/main" id="{B347FE4F-FF21-4551-A9E8-99F0754EA483}"/>
              </a:ext>
            </a:extLst>
          </p:cNvPr>
          <p:cNvPicPr>
            <a:picLocks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9172" y="193145"/>
            <a:ext cx="1195200" cy="342857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2FCAA72-3183-4290-A338-71ED0E818A6D}"/>
              </a:ext>
            </a:extLst>
          </p:cNvPr>
          <p:cNvSpPr txBox="1"/>
          <p:nvPr userDrawn="1"/>
        </p:nvSpPr>
        <p:spPr>
          <a:xfrm>
            <a:off x="9135840" y="6498755"/>
            <a:ext cx="1957267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 dirty="0"/>
              <a:t>© Hitachi Europe Ltd. 2020. All rights reserved.</a:t>
            </a:r>
          </a:p>
        </p:txBody>
      </p:sp>
      <p:sp>
        <p:nvSpPr>
          <p:cNvPr id="13" name="Freeform 23">
            <a:extLst>
              <a:ext uri="{FF2B5EF4-FFF2-40B4-BE49-F238E27FC236}">
                <a16:creationId xmlns:a16="http://schemas.microsoft.com/office/drawing/2014/main" id="{26247320-66BE-47DC-B3AB-5BF308DA048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sp>
        <p:nvSpPr>
          <p:cNvPr id="14" name="1. On-page tracker">
            <a:extLst>
              <a:ext uri="{FF2B5EF4-FFF2-40B4-BE49-F238E27FC236}">
                <a16:creationId xmlns:a16="http://schemas.microsoft.com/office/drawing/2014/main" id="{F218E96E-7F2B-4412-9C99-DCEDEE1F6FC0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1156713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latin typeface="+mj-lt"/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09521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21" Type="http://schemas.openxmlformats.org/officeDocument/2006/relationships/tags" Target="../tags/tag1.xml"/><Relationship Id="rId34" Type="http://schemas.openxmlformats.org/officeDocument/2006/relationships/tags" Target="../tags/tag1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vmlDrawing" Target="../drawings/vmlDrawing1.vml"/><Relationship Id="rId29" Type="http://schemas.openxmlformats.org/officeDocument/2006/relationships/tags" Target="../tags/tag9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31" Type="http://schemas.openxmlformats.org/officeDocument/2006/relationships/tags" Target="../tags/tag1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tags" Target="../tags/tag130.xml"/><Relationship Id="rId39" Type="http://schemas.openxmlformats.org/officeDocument/2006/relationships/tags" Target="../tags/tag143.xml"/><Relationship Id="rId21" Type="http://schemas.openxmlformats.org/officeDocument/2006/relationships/vmlDrawing" Target="../drawings/vmlDrawing19.vml"/><Relationship Id="rId34" Type="http://schemas.openxmlformats.org/officeDocument/2006/relationships/tags" Target="../tags/tag138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9" Type="http://schemas.openxmlformats.org/officeDocument/2006/relationships/tags" Target="../tags/tag133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tags" Target="../tags/tag128.xml"/><Relationship Id="rId32" Type="http://schemas.openxmlformats.org/officeDocument/2006/relationships/tags" Target="../tags/tag136.xml"/><Relationship Id="rId37" Type="http://schemas.openxmlformats.org/officeDocument/2006/relationships/tags" Target="../tags/tag141.xml"/><Relationship Id="rId40" Type="http://schemas.openxmlformats.org/officeDocument/2006/relationships/tags" Target="../tags/tag144.xml"/><Relationship Id="rId45" Type="http://schemas.openxmlformats.org/officeDocument/2006/relationships/image" Target="../media/image6.png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tags" Target="../tags/tag127.xml"/><Relationship Id="rId28" Type="http://schemas.openxmlformats.org/officeDocument/2006/relationships/tags" Target="../tags/tag132.xml"/><Relationship Id="rId36" Type="http://schemas.openxmlformats.org/officeDocument/2006/relationships/tags" Target="../tags/tag140.xml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135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tags" Target="../tags/tag126.xml"/><Relationship Id="rId27" Type="http://schemas.openxmlformats.org/officeDocument/2006/relationships/tags" Target="../tags/tag131.xml"/><Relationship Id="rId30" Type="http://schemas.openxmlformats.org/officeDocument/2006/relationships/tags" Target="../tags/tag134.xml"/><Relationship Id="rId35" Type="http://schemas.openxmlformats.org/officeDocument/2006/relationships/tags" Target="../tags/tag139.xml"/><Relationship Id="rId43" Type="http://schemas.openxmlformats.org/officeDocument/2006/relationships/oleObject" Target="../embeddings/oleObject19.bin"/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tags" Target="../tags/tag129.xml"/><Relationship Id="rId33" Type="http://schemas.openxmlformats.org/officeDocument/2006/relationships/tags" Target="../tags/tag137.xml"/><Relationship Id="rId38" Type="http://schemas.openxmlformats.org/officeDocument/2006/relationships/tags" Target="../tags/tag142.xml"/><Relationship Id="rId20" Type="http://schemas.openxmlformats.org/officeDocument/2006/relationships/theme" Target="../theme/theme3.xml"/><Relationship Id="rId41" Type="http://schemas.openxmlformats.org/officeDocument/2006/relationships/tags" Target="../tags/tag14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image" Target="../media/image11.png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2.xml"/><Relationship Id="rId18" Type="http://schemas.openxmlformats.org/officeDocument/2006/relationships/slideLayout" Target="../slideLayouts/slideLayout87.xml"/><Relationship Id="rId26" Type="http://schemas.openxmlformats.org/officeDocument/2006/relationships/tags" Target="../tags/tag261.xml"/><Relationship Id="rId39" Type="http://schemas.openxmlformats.org/officeDocument/2006/relationships/tags" Target="../tags/tag274.xml"/><Relationship Id="rId21" Type="http://schemas.openxmlformats.org/officeDocument/2006/relationships/vmlDrawing" Target="../drawings/vmlDrawing38.vml"/><Relationship Id="rId34" Type="http://schemas.openxmlformats.org/officeDocument/2006/relationships/tags" Target="../tags/tag269.xml"/><Relationship Id="rId42" Type="http://schemas.openxmlformats.org/officeDocument/2006/relationships/oleObject" Target="../embeddings/oleObject38.bin"/><Relationship Id="rId7" Type="http://schemas.openxmlformats.org/officeDocument/2006/relationships/slideLayout" Target="../slideLayouts/slideLayout76.xml"/><Relationship Id="rId2" Type="http://schemas.openxmlformats.org/officeDocument/2006/relationships/slideLayout" Target="../slideLayouts/slideLayout71.xml"/><Relationship Id="rId16" Type="http://schemas.openxmlformats.org/officeDocument/2006/relationships/slideLayout" Target="../slideLayouts/slideLayout85.xml"/><Relationship Id="rId20" Type="http://schemas.openxmlformats.org/officeDocument/2006/relationships/theme" Target="../theme/theme5.xml"/><Relationship Id="rId29" Type="http://schemas.openxmlformats.org/officeDocument/2006/relationships/tags" Target="../tags/tag264.xml"/><Relationship Id="rId41" Type="http://schemas.openxmlformats.org/officeDocument/2006/relationships/tags" Target="../tags/tag276.xml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24" Type="http://schemas.openxmlformats.org/officeDocument/2006/relationships/tags" Target="../tags/tag259.xml"/><Relationship Id="rId32" Type="http://schemas.openxmlformats.org/officeDocument/2006/relationships/tags" Target="../tags/tag267.xml"/><Relationship Id="rId37" Type="http://schemas.openxmlformats.org/officeDocument/2006/relationships/tags" Target="../tags/tag272.xml"/><Relationship Id="rId40" Type="http://schemas.openxmlformats.org/officeDocument/2006/relationships/tags" Target="../tags/tag275.xml"/><Relationship Id="rId5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4.xml"/><Relationship Id="rId23" Type="http://schemas.openxmlformats.org/officeDocument/2006/relationships/tags" Target="../tags/tag258.xml"/><Relationship Id="rId28" Type="http://schemas.openxmlformats.org/officeDocument/2006/relationships/tags" Target="../tags/tag263.xml"/><Relationship Id="rId36" Type="http://schemas.openxmlformats.org/officeDocument/2006/relationships/tags" Target="../tags/tag271.xml"/><Relationship Id="rId10" Type="http://schemas.openxmlformats.org/officeDocument/2006/relationships/slideLayout" Target="../slideLayouts/slideLayout79.xml"/><Relationship Id="rId19" Type="http://schemas.openxmlformats.org/officeDocument/2006/relationships/slideLayout" Target="../slideLayouts/slideLayout88.xml"/><Relationship Id="rId31" Type="http://schemas.openxmlformats.org/officeDocument/2006/relationships/tags" Target="../tags/tag266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slideLayout" Target="../slideLayouts/slideLayout83.xml"/><Relationship Id="rId22" Type="http://schemas.openxmlformats.org/officeDocument/2006/relationships/tags" Target="../tags/tag257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tags" Target="../tags/tag270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81.xml"/><Relationship Id="rId17" Type="http://schemas.openxmlformats.org/officeDocument/2006/relationships/slideLayout" Target="../slideLayouts/slideLayout86.xml"/><Relationship Id="rId25" Type="http://schemas.openxmlformats.org/officeDocument/2006/relationships/tags" Target="../tags/tag260.xml"/><Relationship Id="rId33" Type="http://schemas.openxmlformats.org/officeDocument/2006/relationships/tags" Target="../tags/tag268.xml"/><Relationship Id="rId38" Type="http://schemas.openxmlformats.org/officeDocument/2006/relationships/tags" Target="../tags/tag27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1.xml"/><Relationship Id="rId18" Type="http://schemas.openxmlformats.org/officeDocument/2006/relationships/theme" Target="../theme/theme6.xml"/><Relationship Id="rId26" Type="http://schemas.openxmlformats.org/officeDocument/2006/relationships/tags" Target="../tags/tag388.xml"/><Relationship Id="rId39" Type="http://schemas.openxmlformats.org/officeDocument/2006/relationships/tags" Target="../tags/tag401.xml"/><Relationship Id="rId21" Type="http://schemas.openxmlformats.org/officeDocument/2006/relationships/tags" Target="../tags/tag383.xml"/><Relationship Id="rId34" Type="http://schemas.openxmlformats.org/officeDocument/2006/relationships/tags" Target="../tags/tag396.xml"/><Relationship Id="rId42" Type="http://schemas.openxmlformats.org/officeDocument/2006/relationships/image" Target="../media/image7.wmf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6" Type="http://schemas.openxmlformats.org/officeDocument/2006/relationships/slideLayout" Target="../slideLayouts/slideLayout104.xml"/><Relationship Id="rId20" Type="http://schemas.openxmlformats.org/officeDocument/2006/relationships/tags" Target="../tags/tag382.xml"/><Relationship Id="rId29" Type="http://schemas.openxmlformats.org/officeDocument/2006/relationships/tags" Target="../tags/tag391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24" Type="http://schemas.openxmlformats.org/officeDocument/2006/relationships/tags" Target="../tags/tag386.xml"/><Relationship Id="rId32" Type="http://schemas.openxmlformats.org/officeDocument/2006/relationships/tags" Target="../tags/tag394.xml"/><Relationship Id="rId37" Type="http://schemas.openxmlformats.org/officeDocument/2006/relationships/tags" Target="../tags/tag399.xml"/><Relationship Id="rId40" Type="http://schemas.openxmlformats.org/officeDocument/2006/relationships/oleObject" Target="../embeddings/oleObject56.bin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23" Type="http://schemas.openxmlformats.org/officeDocument/2006/relationships/tags" Target="../tags/tag385.xml"/><Relationship Id="rId28" Type="http://schemas.openxmlformats.org/officeDocument/2006/relationships/tags" Target="../tags/tag390.xml"/><Relationship Id="rId36" Type="http://schemas.openxmlformats.org/officeDocument/2006/relationships/tags" Target="../tags/tag398.xml"/><Relationship Id="rId10" Type="http://schemas.openxmlformats.org/officeDocument/2006/relationships/slideLayout" Target="../slideLayouts/slideLayout98.xml"/><Relationship Id="rId19" Type="http://schemas.openxmlformats.org/officeDocument/2006/relationships/vmlDrawing" Target="../drawings/vmlDrawing56.vml"/><Relationship Id="rId31" Type="http://schemas.openxmlformats.org/officeDocument/2006/relationships/tags" Target="../tags/tag393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Relationship Id="rId22" Type="http://schemas.openxmlformats.org/officeDocument/2006/relationships/tags" Target="../tags/tag384.xml"/><Relationship Id="rId27" Type="http://schemas.openxmlformats.org/officeDocument/2006/relationships/tags" Target="../tags/tag389.xml"/><Relationship Id="rId30" Type="http://schemas.openxmlformats.org/officeDocument/2006/relationships/tags" Target="../tags/tag392.xml"/><Relationship Id="rId35" Type="http://schemas.openxmlformats.org/officeDocument/2006/relationships/tags" Target="../tags/tag397.xml"/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100.xml"/><Relationship Id="rId17" Type="http://schemas.openxmlformats.org/officeDocument/2006/relationships/slideLayout" Target="../slideLayouts/slideLayout105.xml"/><Relationship Id="rId25" Type="http://schemas.openxmlformats.org/officeDocument/2006/relationships/tags" Target="../tags/tag387.xml"/><Relationship Id="rId33" Type="http://schemas.openxmlformats.org/officeDocument/2006/relationships/tags" Target="../tags/tag395.xml"/><Relationship Id="rId38" Type="http://schemas.openxmlformats.org/officeDocument/2006/relationships/tags" Target="../tags/tag40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image" Target="../media/image11.png"/><Relationship Id="rId5" Type="http://schemas.openxmlformats.org/officeDocument/2006/relationships/slideLayout" Target="../slideLayouts/slideLayout110.xml"/><Relationship Id="rId10" Type="http://schemas.openxmlformats.org/officeDocument/2006/relationships/theme" Target="../theme/theme7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3" Type="http://schemas.openxmlformats.org/officeDocument/2006/relationships/slideLayout" Target="../slideLayouts/slideLayout117.xml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image" Target="../media/image11.png"/><Relationship Id="rId2" Type="http://schemas.openxmlformats.org/officeDocument/2006/relationships/slideLayout" Target="../slideLayouts/slideLayout116.xml"/><Relationship Id="rId16" Type="http://schemas.openxmlformats.org/officeDocument/2006/relationships/theme" Target="../theme/theme8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10" Type="http://schemas.openxmlformats.org/officeDocument/2006/relationships/slideLayout" Target="../slideLayouts/slideLayout124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tags" Target="../tags/tag504.xml"/><Relationship Id="rId39" Type="http://schemas.openxmlformats.org/officeDocument/2006/relationships/tags" Target="../tags/tag517.xml"/><Relationship Id="rId21" Type="http://schemas.openxmlformats.org/officeDocument/2006/relationships/theme" Target="../theme/theme9.xml"/><Relationship Id="rId34" Type="http://schemas.openxmlformats.org/officeDocument/2006/relationships/tags" Target="../tags/tag512.xml"/><Relationship Id="rId42" Type="http://schemas.openxmlformats.org/officeDocument/2006/relationships/tags" Target="../tags/tag520.xml"/><Relationship Id="rId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9" Type="http://schemas.openxmlformats.org/officeDocument/2006/relationships/tags" Target="../tags/tag507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24" Type="http://schemas.openxmlformats.org/officeDocument/2006/relationships/tags" Target="../tags/tag502.xml"/><Relationship Id="rId32" Type="http://schemas.openxmlformats.org/officeDocument/2006/relationships/tags" Target="../tags/tag510.xml"/><Relationship Id="rId37" Type="http://schemas.openxmlformats.org/officeDocument/2006/relationships/tags" Target="../tags/tag515.xml"/><Relationship Id="rId40" Type="http://schemas.openxmlformats.org/officeDocument/2006/relationships/tags" Target="../tags/tag518.xml"/><Relationship Id="rId45" Type="http://schemas.openxmlformats.org/officeDocument/2006/relationships/image" Target="../media/image19.png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tags" Target="../tags/tag501.xml"/><Relationship Id="rId28" Type="http://schemas.openxmlformats.org/officeDocument/2006/relationships/tags" Target="../tags/tag506.xml"/><Relationship Id="rId36" Type="http://schemas.openxmlformats.org/officeDocument/2006/relationships/tags" Target="../tags/tag514.xml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31" Type="http://schemas.openxmlformats.org/officeDocument/2006/relationships/tags" Target="../tags/tag509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vmlDrawing" Target="../drawings/vmlDrawing73.vml"/><Relationship Id="rId27" Type="http://schemas.openxmlformats.org/officeDocument/2006/relationships/tags" Target="../tags/tag505.xml"/><Relationship Id="rId30" Type="http://schemas.openxmlformats.org/officeDocument/2006/relationships/tags" Target="../tags/tag508.xml"/><Relationship Id="rId35" Type="http://schemas.openxmlformats.org/officeDocument/2006/relationships/tags" Target="../tags/tag513.xml"/><Relationship Id="rId43" Type="http://schemas.openxmlformats.org/officeDocument/2006/relationships/oleObject" Target="../embeddings/oleObject73.bin"/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tags" Target="../tags/tag503.xml"/><Relationship Id="rId33" Type="http://schemas.openxmlformats.org/officeDocument/2006/relationships/tags" Target="../tags/tag511.xml"/><Relationship Id="rId38" Type="http://schemas.openxmlformats.org/officeDocument/2006/relationships/tags" Target="../tags/tag516.xml"/><Relationship Id="rId20" Type="http://schemas.openxmlformats.org/officeDocument/2006/relationships/slideLayout" Target="../slideLayouts/slideLayout149.xml"/><Relationship Id="rId41" Type="http://schemas.openxmlformats.org/officeDocument/2006/relationships/tags" Target="../tags/tag5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08BDEEE-53F2-492B-8A81-51ACC1F21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A111C2-0BCB-42AB-9C8B-95551F7E25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6F8534-46D0-445B-A273-40CDA0EF50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202221-865F-4E75-B7A2-28815992ED78}" type="datetimeFigureOut">
              <a:rPr lang="en-GB" smtClean="0"/>
              <a:t>01/02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574AFD-99BD-4823-BAF2-BD2C49341C5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A7C955-35D2-4B2A-AFBD-ED557F2324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F989B2-D4B7-42BE-B0A7-9EA2FEF0C5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1182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SIPWMWatermarking" descr="{&quot;HashCode&quot;:999751641,&quot;Placement&quot;:&quot;Header&quot;}">
            <a:extLst>
              <a:ext uri="{FF2B5EF4-FFF2-40B4-BE49-F238E27FC236}">
                <a16:creationId xmlns:a16="http://schemas.microsoft.com/office/drawing/2014/main" id="{3FD8B297-4E11-46E7-93CE-7276AEB2D246}"/>
              </a:ext>
            </a:extLst>
          </p:cNvPr>
          <p:cNvSpPr txBox="1"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41"/>
            <a:stretch>
              <a:fillRect/>
            </a:stretch>
          </a:blipFill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/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2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29173" y="727479"/>
            <a:ext cx="9638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0" defTabSz="1242721" fontAlgn="base">
              <a:spcAft>
                <a:spcPct val="0"/>
              </a:spcAft>
              <a:tabLst>
                <a:tab pos="374579" algn="l"/>
              </a:tabLst>
            </a:pPr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26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10306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4736" y="2170801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/>
              <a:t>Above Chart Exhibit Title</a:t>
            </a:r>
          </a:p>
          <a:p>
            <a:pPr lvl="0"/>
            <a:r>
              <a:rPr lang="en-GB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9175" y="2170800"/>
            <a:ext cx="24846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2040991-77E0-4D2F-9ACC-E122F63FB834}"/>
              </a:ext>
            </a:extLst>
          </p:cNvPr>
          <p:cNvGrpSpPr/>
          <p:nvPr userDrawn="1"/>
        </p:nvGrpSpPr>
        <p:grpSpPr>
          <a:xfrm>
            <a:off x="10144188" y="3119449"/>
            <a:ext cx="1697115" cy="1142955"/>
            <a:chOff x="10162879" y="3212995"/>
            <a:chExt cx="1697114" cy="1142954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DC168207-7BC9-44A4-B2F4-FE1ACD33B9D8}"/>
                </a:ext>
              </a:extLst>
            </p:cNvPr>
            <p:cNvSpPr txBox="1"/>
            <p:nvPr/>
          </p:nvSpPr>
          <p:spPr>
            <a:xfrm>
              <a:off x="10886521" y="3212995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E90A61A-C251-498F-B988-EA1F89730741}"/>
                </a:ext>
              </a:extLst>
            </p:cNvPr>
            <p:cNvSpPr txBox="1"/>
            <p:nvPr/>
          </p:nvSpPr>
          <p:spPr>
            <a:xfrm>
              <a:off x="10886521" y="3584416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C7972C2-9BAB-4A4B-85ED-9C14DD451F11}"/>
                </a:ext>
              </a:extLst>
            </p:cNvPr>
            <p:cNvSpPr txBox="1"/>
            <p:nvPr/>
          </p:nvSpPr>
          <p:spPr>
            <a:xfrm>
              <a:off x="10886521" y="3955839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EDA214AD-3606-4B0E-9DFF-BF784A8F75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08CB2DCB-1A77-47E2-A95C-FB378C1F1F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B2ECDA05-6603-4CD4-9D06-56E8560E188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FBC1EA5-1ABC-42A3-806A-79918E0A4B31}"/>
              </a:ext>
            </a:extLst>
          </p:cNvPr>
          <p:cNvGrpSpPr/>
          <p:nvPr userDrawn="1"/>
        </p:nvGrpSpPr>
        <p:grpSpPr>
          <a:xfrm>
            <a:off x="10515193" y="1121955"/>
            <a:ext cx="1326104" cy="1901950"/>
            <a:chOff x="7723680" y="1679039"/>
            <a:chExt cx="1326103" cy="190194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BED26724-6F6D-4884-BC55-A0FA6F733C02}"/>
                </a:ext>
              </a:extLst>
            </p:cNvPr>
            <p:cNvSpPr txBox="1"/>
            <p:nvPr/>
          </p:nvSpPr>
          <p:spPr>
            <a:xfrm>
              <a:off x="8076312" y="1679039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9CF0E76-D745-4476-A8C8-B5E67C8B2DC8}"/>
                </a:ext>
              </a:extLst>
            </p:cNvPr>
            <p:cNvSpPr txBox="1"/>
            <p:nvPr/>
          </p:nvSpPr>
          <p:spPr>
            <a:xfrm>
              <a:off x="8076312" y="2054498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725B785-53C5-4BF1-9D8E-41F6E06154E2}"/>
                </a:ext>
              </a:extLst>
            </p:cNvPr>
            <p:cNvSpPr txBox="1"/>
            <p:nvPr/>
          </p:nvSpPr>
          <p:spPr>
            <a:xfrm>
              <a:off x="8076312" y="2429957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3746D32-DAF7-4B3D-8417-7BF8BBD6BE66}"/>
                </a:ext>
              </a:extLst>
            </p:cNvPr>
            <p:cNvSpPr txBox="1"/>
            <p:nvPr/>
          </p:nvSpPr>
          <p:spPr>
            <a:xfrm>
              <a:off x="8076312" y="280541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0C9B282-A4C8-4B55-BEB2-5ECB1120E874}"/>
                </a:ext>
              </a:extLst>
            </p:cNvPr>
            <p:cNvSpPr txBox="1"/>
            <p:nvPr/>
          </p:nvSpPr>
          <p:spPr>
            <a:xfrm>
              <a:off x="8076312" y="3180878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F6162FD-88FF-455F-BE68-7C63DB59988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64AEF99-F7D9-410B-B82B-3A6D3CA048E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20492D6-F147-4C8A-9E76-930731367E9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DC5C080-B9FB-4E28-995F-A209DA831992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E09B862-4910-461D-BE95-31D2DD61DE6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D5CF14A-2F5E-4AF5-89EE-5576F037E85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33C793C-08E2-49A4-868D-E6B1310C24F4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8B04B60-0714-4A72-BC8E-594B7C06F15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513D1BD-772B-44EF-8A6A-EFBE7E9BA57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5AD32D3-F0F5-4E8C-8C65-72B919844135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885D2E-8FEB-4A6D-B30B-90BB76D1B1A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A7CBBF2-8FA8-4452-8C77-FE22E1BDFD8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20AC928-8F0C-4450-9DB2-E0CE7D35B3B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478806E8-9CD4-4A58-A3C2-30AF1561CF79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A6730CF1-12B6-416E-BCFC-2BE44C38CEA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DE6700D-F0D7-4E47-99E4-3475A0A5A270}"/>
              </a:ext>
            </a:extLst>
          </p:cNvPr>
          <p:cNvGrpSpPr/>
          <p:nvPr userDrawn="1"/>
        </p:nvGrpSpPr>
        <p:grpSpPr>
          <a:xfrm>
            <a:off x="10541692" y="4350724"/>
            <a:ext cx="1299618" cy="1901950"/>
            <a:chOff x="10652400" y="4292047"/>
            <a:chExt cx="1299617" cy="1901949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AE621BBB-C3CB-432E-8798-D5279AB7277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EF8D17-C187-4086-A195-D25D9411B64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6843165-D717-4E10-8DDB-76D2A3DA668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9236F2F-0A5A-464C-B131-43CFC07370B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ED847EE-C8E8-4343-B459-6A2D03AF869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CDDD670-8189-489C-AB82-D3F390CCD9BD}"/>
                </a:ext>
              </a:extLst>
            </p:cNvPr>
            <p:cNvSpPr txBox="1"/>
            <p:nvPr/>
          </p:nvSpPr>
          <p:spPr>
            <a:xfrm>
              <a:off x="10978545" y="4292047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5733B7F-6A34-451E-BD6B-51A5F24A79AE}"/>
                </a:ext>
              </a:extLst>
            </p:cNvPr>
            <p:cNvSpPr txBox="1"/>
            <p:nvPr/>
          </p:nvSpPr>
          <p:spPr>
            <a:xfrm>
              <a:off x="10978546" y="467154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DA7969CB-6D39-4988-8E27-6CC5A0174439}"/>
                </a:ext>
              </a:extLst>
            </p:cNvPr>
            <p:cNvSpPr txBox="1"/>
            <p:nvPr/>
          </p:nvSpPr>
          <p:spPr>
            <a:xfrm>
              <a:off x="10978546" y="5051043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68D0A0D3-590C-47DA-B8F7-82CAADB7741A}"/>
                </a:ext>
              </a:extLst>
            </p:cNvPr>
            <p:cNvSpPr txBox="1"/>
            <p:nvPr/>
          </p:nvSpPr>
          <p:spPr>
            <a:xfrm>
              <a:off x="10978546" y="5422464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27502893-C512-490D-B352-F9326A3DD96E}"/>
                </a:ext>
              </a:extLst>
            </p:cNvPr>
            <p:cNvSpPr txBox="1"/>
            <p:nvPr/>
          </p:nvSpPr>
          <p:spPr>
            <a:xfrm>
              <a:off x="10978545" y="579388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7B773323-A7AC-448B-9ED6-C4C107F95CBD}"/>
              </a:ext>
            </a:extLst>
          </p:cNvPr>
          <p:cNvSpPr txBox="1"/>
          <p:nvPr userDrawn="1"/>
        </p:nvSpPr>
        <p:spPr>
          <a:xfrm>
            <a:off x="9135840" y="6498755"/>
            <a:ext cx="2123979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1. All rights reserved.</a:t>
            </a:r>
          </a:p>
        </p:txBody>
      </p:sp>
      <p:sp>
        <p:nvSpPr>
          <p:cNvPr id="154" name="Freeform 23">
            <a:extLst>
              <a:ext uri="{FF2B5EF4-FFF2-40B4-BE49-F238E27FC236}">
                <a16:creationId xmlns:a16="http://schemas.microsoft.com/office/drawing/2014/main" id="{E7915E18-178E-411B-8ABE-39B9A35A96B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016342D3-BB39-4A40-ABEC-782F1F7DBE0A}"/>
              </a:ext>
            </a:extLst>
          </p:cNvPr>
          <p:cNvGrpSpPr/>
          <p:nvPr userDrawn="1"/>
        </p:nvGrpSpPr>
        <p:grpSpPr>
          <a:xfrm>
            <a:off x="10589172" y="193145"/>
            <a:ext cx="1195200" cy="342857"/>
            <a:chOff x="10442064" y="193144"/>
            <a:chExt cx="1195200" cy="342857"/>
          </a:xfrm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C6F2E09C-1DA6-4504-B67F-725F32748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0" name="Freeform 7">
              <a:extLst>
                <a:ext uri="{FF2B5EF4-FFF2-40B4-BE49-F238E27FC236}">
                  <a16:creationId xmlns:a16="http://schemas.microsoft.com/office/drawing/2014/main" id="{6F9D22D9-5663-46C8-98DC-7D661DABD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1" name="Freeform 9">
              <a:extLst>
                <a:ext uri="{FF2B5EF4-FFF2-40B4-BE49-F238E27FC236}">
                  <a16:creationId xmlns:a16="http://schemas.microsoft.com/office/drawing/2014/main" id="{9BB0CDA0-ABA2-4015-AACF-1EF3DED5CE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5B5677-C4F7-4976-AA89-6D12BD251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789BB306-E333-4247-936C-0C3B258E5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5F81856-94C5-4387-AD0C-C670CA88B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BB3A0DB3-B361-4E91-8A95-F2D22780F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8C72210F-3FC7-4757-AFC8-307521BC7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00854618-7163-45CF-840D-B36A7B33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0" name="Freeform 22">
              <a:extLst>
                <a:ext uri="{FF2B5EF4-FFF2-40B4-BE49-F238E27FC236}">
                  <a16:creationId xmlns:a16="http://schemas.microsoft.com/office/drawing/2014/main" id="{1C0D2430-60A6-4464-A071-04A5EDEE5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1" name="Freeform 31">
              <a:extLst>
                <a:ext uri="{FF2B5EF4-FFF2-40B4-BE49-F238E27FC236}">
                  <a16:creationId xmlns:a16="http://schemas.microsoft.com/office/drawing/2014/main" id="{C72FE7A9-ED1C-4547-AE80-A460276CD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2" name="Freeform 27">
              <a:extLst>
                <a:ext uri="{FF2B5EF4-FFF2-40B4-BE49-F238E27FC236}">
                  <a16:creationId xmlns:a16="http://schemas.microsoft.com/office/drawing/2014/main" id="{E8D74A95-F2D5-4207-956D-C8852E227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3" name="Freeform 29">
              <a:extLst>
                <a:ext uri="{FF2B5EF4-FFF2-40B4-BE49-F238E27FC236}">
                  <a16:creationId xmlns:a16="http://schemas.microsoft.com/office/drawing/2014/main" id="{A7208A05-AB67-46E7-A536-07BCA782D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778B27B-0965-4D9E-B768-E9670C39F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5" name="Freeform 33">
              <a:extLst>
                <a:ext uri="{FF2B5EF4-FFF2-40B4-BE49-F238E27FC236}">
                  <a16:creationId xmlns:a16="http://schemas.microsoft.com/office/drawing/2014/main" id="{2EAA16CD-A173-4DF9-8E4F-D129CCA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6" name="Freeform 36">
              <a:extLst>
                <a:ext uri="{FF2B5EF4-FFF2-40B4-BE49-F238E27FC236}">
                  <a16:creationId xmlns:a16="http://schemas.microsoft.com/office/drawing/2014/main" id="{A459398A-7DBD-4DA3-B2E7-B0E679AED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7" name="Freeform 38">
              <a:extLst>
                <a:ext uri="{FF2B5EF4-FFF2-40B4-BE49-F238E27FC236}">
                  <a16:creationId xmlns:a16="http://schemas.microsoft.com/office/drawing/2014/main" id="{826C9866-138A-4E8A-84D0-B1AA9BD8C1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8" name="Freeform 41">
              <a:extLst>
                <a:ext uri="{FF2B5EF4-FFF2-40B4-BE49-F238E27FC236}">
                  <a16:creationId xmlns:a16="http://schemas.microsoft.com/office/drawing/2014/main" id="{1EFE03DB-4CF4-43CB-837E-6D69F774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79" name="Freeform 43">
              <a:extLst>
                <a:ext uri="{FF2B5EF4-FFF2-40B4-BE49-F238E27FC236}">
                  <a16:creationId xmlns:a16="http://schemas.microsoft.com/office/drawing/2014/main" id="{7D594242-24FD-4A59-B170-AFD0B433A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0" name="Freeform 45">
              <a:extLst>
                <a:ext uri="{FF2B5EF4-FFF2-40B4-BE49-F238E27FC236}">
                  <a16:creationId xmlns:a16="http://schemas.microsoft.com/office/drawing/2014/main" id="{BC2BC67B-50AF-41C6-B3B4-BE225234B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1" name="Freeform 48">
              <a:extLst>
                <a:ext uri="{FF2B5EF4-FFF2-40B4-BE49-F238E27FC236}">
                  <a16:creationId xmlns:a16="http://schemas.microsoft.com/office/drawing/2014/main" id="{6C60BAE3-900D-4DF2-81EB-9744A7D47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2" name="Freeform 50">
              <a:extLst>
                <a:ext uri="{FF2B5EF4-FFF2-40B4-BE49-F238E27FC236}">
                  <a16:creationId xmlns:a16="http://schemas.microsoft.com/office/drawing/2014/main" id="{3A5816E1-12F5-4F7E-A291-FAA557FAF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3" name="Freeform 52">
              <a:extLst>
                <a:ext uri="{FF2B5EF4-FFF2-40B4-BE49-F238E27FC236}">
                  <a16:creationId xmlns:a16="http://schemas.microsoft.com/office/drawing/2014/main" id="{E0573B79-1771-4810-98DE-4A37E5AB9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1512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1800" b="1" kern="1200" cap="all" spc="0" baseline="0" dirty="0">
          <a:ln w="6350" cap="flat">
            <a:noFill/>
            <a:miter lim="800000"/>
          </a:ln>
          <a:solidFill>
            <a:schemeClr val="accent6"/>
          </a:solidFill>
          <a:latin typeface="+mn-lt"/>
          <a:ea typeface="+mn-ea"/>
          <a:cs typeface="+mn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01" indent="-210307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45" indent="-15544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796" indent="-14630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SIPWMWatermarking" descr="{&quot;HashCode&quot;:999751641,&quot;Placement&quot;:&quot;Header&quot;}">
            <a:extLst>
              <a:ext uri="{FF2B5EF4-FFF2-40B4-BE49-F238E27FC236}">
                <a16:creationId xmlns:a16="http://schemas.microsoft.com/office/drawing/2014/main" id="{4FD33E24-6A63-4F82-A4FA-C37A0BF93CAB}"/>
              </a:ext>
            </a:extLst>
          </p:cNvPr>
          <p:cNvSpPr txBox="1"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42"/>
            <a:stretch>
              <a:fillRect/>
            </a:stretch>
          </a:blipFill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/>
          </a:p>
        </p:txBody>
      </p:sp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2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29173" y="727479"/>
            <a:ext cx="9638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0" defTabSz="1242721" fontAlgn="base">
              <a:spcAft>
                <a:spcPct val="0"/>
              </a:spcAft>
              <a:tabLst>
                <a:tab pos="374579" algn="l"/>
              </a:tabLst>
            </a:pPr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26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10306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4736" y="2170801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/>
              <a:t>Above Chart Exhibit Title</a:t>
            </a:r>
          </a:p>
          <a:p>
            <a:pPr lvl="0"/>
            <a:r>
              <a:rPr lang="en-GB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9175" y="2170800"/>
            <a:ext cx="24846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2040991-77E0-4D2F-9ACC-E122F63FB834}"/>
              </a:ext>
            </a:extLst>
          </p:cNvPr>
          <p:cNvGrpSpPr/>
          <p:nvPr userDrawn="1"/>
        </p:nvGrpSpPr>
        <p:grpSpPr>
          <a:xfrm>
            <a:off x="10144188" y="3119449"/>
            <a:ext cx="1697115" cy="1142955"/>
            <a:chOff x="10162879" y="3212995"/>
            <a:chExt cx="1697114" cy="1142954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DC168207-7BC9-44A4-B2F4-FE1ACD33B9D8}"/>
                </a:ext>
              </a:extLst>
            </p:cNvPr>
            <p:cNvSpPr txBox="1"/>
            <p:nvPr/>
          </p:nvSpPr>
          <p:spPr>
            <a:xfrm>
              <a:off x="10886521" y="3212995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E90A61A-C251-498F-B988-EA1F89730741}"/>
                </a:ext>
              </a:extLst>
            </p:cNvPr>
            <p:cNvSpPr txBox="1"/>
            <p:nvPr/>
          </p:nvSpPr>
          <p:spPr>
            <a:xfrm>
              <a:off x="10886521" y="3584416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C7972C2-9BAB-4A4B-85ED-9C14DD451F11}"/>
                </a:ext>
              </a:extLst>
            </p:cNvPr>
            <p:cNvSpPr txBox="1"/>
            <p:nvPr/>
          </p:nvSpPr>
          <p:spPr>
            <a:xfrm>
              <a:off x="10886521" y="3955839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EDA214AD-3606-4B0E-9DFF-BF784A8F75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08CB2DCB-1A77-47E2-A95C-FB378C1F1F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B2ECDA05-6603-4CD4-9D06-56E8560E188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FBC1EA5-1ABC-42A3-806A-79918E0A4B31}"/>
              </a:ext>
            </a:extLst>
          </p:cNvPr>
          <p:cNvGrpSpPr/>
          <p:nvPr userDrawn="1"/>
        </p:nvGrpSpPr>
        <p:grpSpPr>
          <a:xfrm>
            <a:off x="10515193" y="1121955"/>
            <a:ext cx="1326104" cy="1901950"/>
            <a:chOff x="7723680" y="1679039"/>
            <a:chExt cx="1326103" cy="190194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BED26724-6F6D-4884-BC55-A0FA6F733C02}"/>
                </a:ext>
              </a:extLst>
            </p:cNvPr>
            <p:cNvSpPr txBox="1"/>
            <p:nvPr/>
          </p:nvSpPr>
          <p:spPr>
            <a:xfrm>
              <a:off x="8076312" y="1679039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9CF0E76-D745-4476-A8C8-B5E67C8B2DC8}"/>
                </a:ext>
              </a:extLst>
            </p:cNvPr>
            <p:cNvSpPr txBox="1"/>
            <p:nvPr/>
          </p:nvSpPr>
          <p:spPr>
            <a:xfrm>
              <a:off x="8076312" y="2054498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725B785-53C5-4BF1-9D8E-41F6E06154E2}"/>
                </a:ext>
              </a:extLst>
            </p:cNvPr>
            <p:cNvSpPr txBox="1"/>
            <p:nvPr/>
          </p:nvSpPr>
          <p:spPr>
            <a:xfrm>
              <a:off x="8076312" y="2429957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3746D32-DAF7-4B3D-8417-7BF8BBD6BE66}"/>
                </a:ext>
              </a:extLst>
            </p:cNvPr>
            <p:cNvSpPr txBox="1"/>
            <p:nvPr/>
          </p:nvSpPr>
          <p:spPr>
            <a:xfrm>
              <a:off x="8076312" y="280541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0C9B282-A4C8-4B55-BEB2-5ECB1120E874}"/>
                </a:ext>
              </a:extLst>
            </p:cNvPr>
            <p:cNvSpPr txBox="1"/>
            <p:nvPr/>
          </p:nvSpPr>
          <p:spPr>
            <a:xfrm>
              <a:off x="8076312" y="3180878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F6162FD-88FF-455F-BE68-7C63DB59988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64AEF99-F7D9-410B-B82B-3A6D3CA048E6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20492D6-F147-4C8A-9E76-930731367E9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DC5C080-B9FB-4E28-995F-A209DA83199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E09B862-4910-461D-BE95-31D2DD61DE6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D5CF14A-2F5E-4AF5-89EE-5576F037E853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33C793C-08E2-49A4-868D-E6B1310C24F4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8B04B60-0714-4A72-BC8E-594B7C06F15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513D1BD-772B-44EF-8A6A-EFBE7E9BA57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5AD32D3-F0F5-4E8C-8C65-72B91984413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885D2E-8FEB-4A6D-B30B-90BB76D1B1A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A7CBBF2-8FA8-4452-8C77-FE22E1BDFD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20AC928-8F0C-4450-9DB2-E0CE7D35B3B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478806E8-9CD4-4A58-A3C2-30AF1561CF7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A6730CF1-12B6-416E-BCFC-2BE44C38CEA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DE6700D-F0D7-4E47-99E4-3475A0A5A270}"/>
              </a:ext>
            </a:extLst>
          </p:cNvPr>
          <p:cNvGrpSpPr/>
          <p:nvPr userDrawn="1"/>
        </p:nvGrpSpPr>
        <p:grpSpPr>
          <a:xfrm>
            <a:off x="10541692" y="4350724"/>
            <a:ext cx="1299618" cy="1901950"/>
            <a:chOff x="10652400" y="4292047"/>
            <a:chExt cx="1299617" cy="1901949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AE621BBB-C3CB-432E-8798-D5279AB7277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EF8D17-C187-4086-A195-D25D9411B64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6843165-D717-4E10-8DDB-76D2A3DA668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9236F2F-0A5A-464C-B131-43CFC07370B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ED847EE-C8E8-4343-B459-6A2D03AF869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CDDD670-8189-489C-AB82-D3F390CCD9BD}"/>
                </a:ext>
              </a:extLst>
            </p:cNvPr>
            <p:cNvSpPr txBox="1"/>
            <p:nvPr/>
          </p:nvSpPr>
          <p:spPr>
            <a:xfrm>
              <a:off x="10978545" y="4292047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5733B7F-6A34-451E-BD6B-51A5F24A79AE}"/>
                </a:ext>
              </a:extLst>
            </p:cNvPr>
            <p:cNvSpPr txBox="1"/>
            <p:nvPr/>
          </p:nvSpPr>
          <p:spPr>
            <a:xfrm>
              <a:off x="10978546" y="467154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DA7969CB-6D39-4988-8E27-6CC5A0174439}"/>
                </a:ext>
              </a:extLst>
            </p:cNvPr>
            <p:cNvSpPr txBox="1"/>
            <p:nvPr/>
          </p:nvSpPr>
          <p:spPr>
            <a:xfrm>
              <a:off x="10978546" y="5051043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68D0A0D3-590C-47DA-B8F7-82CAADB7741A}"/>
                </a:ext>
              </a:extLst>
            </p:cNvPr>
            <p:cNvSpPr txBox="1"/>
            <p:nvPr/>
          </p:nvSpPr>
          <p:spPr>
            <a:xfrm>
              <a:off x="10978546" y="5422464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27502893-C512-490D-B352-F9326A3DD96E}"/>
                </a:ext>
              </a:extLst>
            </p:cNvPr>
            <p:cNvSpPr txBox="1"/>
            <p:nvPr/>
          </p:nvSpPr>
          <p:spPr>
            <a:xfrm>
              <a:off x="10978545" y="579388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7B773323-A7AC-448B-9ED6-C4C107F95CBD}"/>
              </a:ext>
            </a:extLst>
          </p:cNvPr>
          <p:cNvSpPr txBox="1"/>
          <p:nvPr userDrawn="1"/>
        </p:nvSpPr>
        <p:spPr>
          <a:xfrm>
            <a:off x="9135840" y="6498755"/>
            <a:ext cx="2123979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1. All rights reserved.</a:t>
            </a:r>
          </a:p>
        </p:txBody>
      </p:sp>
      <p:sp>
        <p:nvSpPr>
          <p:cNvPr id="154" name="Freeform 23">
            <a:extLst>
              <a:ext uri="{FF2B5EF4-FFF2-40B4-BE49-F238E27FC236}">
                <a16:creationId xmlns:a16="http://schemas.microsoft.com/office/drawing/2014/main" id="{E7915E18-178E-411B-8ABE-39B9A35A96B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016342D3-BB39-4A40-ABEC-782F1F7DBE0A}"/>
              </a:ext>
            </a:extLst>
          </p:cNvPr>
          <p:cNvGrpSpPr/>
          <p:nvPr userDrawn="1"/>
        </p:nvGrpSpPr>
        <p:grpSpPr>
          <a:xfrm>
            <a:off x="10589172" y="193145"/>
            <a:ext cx="1195200" cy="342857"/>
            <a:chOff x="10442064" y="193144"/>
            <a:chExt cx="1195200" cy="342857"/>
          </a:xfrm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C6F2E09C-1DA6-4504-B67F-725F32748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0" name="Freeform 7">
              <a:extLst>
                <a:ext uri="{FF2B5EF4-FFF2-40B4-BE49-F238E27FC236}">
                  <a16:creationId xmlns:a16="http://schemas.microsoft.com/office/drawing/2014/main" id="{6F9D22D9-5663-46C8-98DC-7D661DABD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1" name="Freeform 9">
              <a:extLst>
                <a:ext uri="{FF2B5EF4-FFF2-40B4-BE49-F238E27FC236}">
                  <a16:creationId xmlns:a16="http://schemas.microsoft.com/office/drawing/2014/main" id="{9BB0CDA0-ABA2-4015-AACF-1EF3DED5CE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5B5677-C4F7-4976-AA89-6D12BD251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789BB306-E333-4247-936C-0C3B258E5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5F81856-94C5-4387-AD0C-C670CA88B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BB3A0DB3-B361-4E91-8A95-F2D22780F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8C72210F-3FC7-4757-AFC8-307521BC7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00854618-7163-45CF-840D-B36A7B33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0" name="Freeform 22">
              <a:extLst>
                <a:ext uri="{FF2B5EF4-FFF2-40B4-BE49-F238E27FC236}">
                  <a16:creationId xmlns:a16="http://schemas.microsoft.com/office/drawing/2014/main" id="{1C0D2430-60A6-4464-A071-04A5EDEE5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1" name="Freeform 31">
              <a:extLst>
                <a:ext uri="{FF2B5EF4-FFF2-40B4-BE49-F238E27FC236}">
                  <a16:creationId xmlns:a16="http://schemas.microsoft.com/office/drawing/2014/main" id="{C72FE7A9-ED1C-4547-AE80-A460276CD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2" name="Freeform 27">
              <a:extLst>
                <a:ext uri="{FF2B5EF4-FFF2-40B4-BE49-F238E27FC236}">
                  <a16:creationId xmlns:a16="http://schemas.microsoft.com/office/drawing/2014/main" id="{E8D74A95-F2D5-4207-956D-C8852E227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3" name="Freeform 29">
              <a:extLst>
                <a:ext uri="{FF2B5EF4-FFF2-40B4-BE49-F238E27FC236}">
                  <a16:creationId xmlns:a16="http://schemas.microsoft.com/office/drawing/2014/main" id="{A7208A05-AB67-46E7-A536-07BCA782D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778B27B-0965-4D9E-B768-E9670C39F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5" name="Freeform 33">
              <a:extLst>
                <a:ext uri="{FF2B5EF4-FFF2-40B4-BE49-F238E27FC236}">
                  <a16:creationId xmlns:a16="http://schemas.microsoft.com/office/drawing/2014/main" id="{2EAA16CD-A173-4DF9-8E4F-D129CCA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6" name="Freeform 36">
              <a:extLst>
                <a:ext uri="{FF2B5EF4-FFF2-40B4-BE49-F238E27FC236}">
                  <a16:creationId xmlns:a16="http://schemas.microsoft.com/office/drawing/2014/main" id="{A459398A-7DBD-4DA3-B2E7-B0E679AED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7" name="Freeform 38">
              <a:extLst>
                <a:ext uri="{FF2B5EF4-FFF2-40B4-BE49-F238E27FC236}">
                  <a16:creationId xmlns:a16="http://schemas.microsoft.com/office/drawing/2014/main" id="{826C9866-138A-4E8A-84D0-B1AA9BD8C1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8" name="Freeform 41">
              <a:extLst>
                <a:ext uri="{FF2B5EF4-FFF2-40B4-BE49-F238E27FC236}">
                  <a16:creationId xmlns:a16="http://schemas.microsoft.com/office/drawing/2014/main" id="{1EFE03DB-4CF4-43CB-837E-6D69F774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79" name="Freeform 43">
              <a:extLst>
                <a:ext uri="{FF2B5EF4-FFF2-40B4-BE49-F238E27FC236}">
                  <a16:creationId xmlns:a16="http://schemas.microsoft.com/office/drawing/2014/main" id="{7D594242-24FD-4A59-B170-AFD0B433A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0" name="Freeform 45">
              <a:extLst>
                <a:ext uri="{FF2B5EF4-FFF2-40B4-BE49-F238E27FC236}">
                  <a16:creationId xmlns:a16="http://schemas.microsoft.com/office/drawing/2014/main" id="{BC2BC67B-50AF-41C6-B3B4-BE225234B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1" name="Freeform 48">
              <a:extLst>
                <a:ext uri="{FF2B5EF4-FFF2-40B4-BE49-F238E27FC236}">
                  <a16:creationId xmlns:a16="http://schemas.microsoft.com/office/drawing/2014/main" id="{6C60BAE3-900D-4DF2-81EB-9744A7D47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2" name="Freeform 50">
              <a:extLst>
                <a:ext uri="{FF2B5EF4-FFF2-40B4-BE49-F238E27FC236}">
                  <a16:creationId xmlns:a16="http://schemas.microsoft.com/office/drawing/2014/main" id="{3A5816E1-12F5-4F7E-A291-FAA557FAF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3" name="Freeform 52">
              <a:extLst>
                <a:ext uri="{FF2B5EF4-FFF2-40B4-BE49-F238E27FC236}">
                  <a16:creationId xmlns:a16="http://schemas.microsoft.com/office/drawing/2014/main" id="{E0573B79-1771-4810-98DE-4A37E5AB9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197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</p:grpSp>
      <p:pic>
        <p:nvPicPr>
          <p:cNvPr id="184" name="Picture 183">
            <a:extLst>
              <a:ext uri="{FF2B5EF4-FFF2-40B4-BE49-F238E27FC236}">
                <a16:creationId xmlns:a16="http://schemas.microsoft.com/office/drawing/2014/main" id="{22EF4B5B-AE79-5B46-92E0-A7BC95F34852}"/>
              </a:ext>
            </a:extLst>
          </p:cNvPr>
          <p:cNvPicPr>
            <a:picLocks noChangeAspect="1"/>
          </p:cNvPicPr>
          <p:nvPr userDrawn="1"/>
        </p:nvPicPr>
        <p:blipFill>
          <a:blip r:embed="rId45"/>
          <a:stretch>
            <a:fillRect/>
          </a:stretch>
        </p:blipFill>
        <p:spPr>
          <a:xfrm>
            <a:off x="9882129" y="92136"/>
            <a:ext cx="2232752" cy="5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5277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1800" b="1" kern="1200" cap="all" spc="0" baseline="0" dirty="0">
          <a:ln w="6350" cap="flat">
            <a:noFill/>
            <a:miter lim="800000"/>
          </a:ln>
          <a:solidFill>
            <a:schemeClr val="accent6"/>
          </a:solidFill>
          <a:latin typeface="+mn-lt"/>
          <a:ea typeface="+mn-ea"/>
          <a:cs typeface="+mn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01" indent="-210307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45" indent="-15544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796" indent="-14630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26634" y="902793"/>
            <a:ext cx="10155767" cy="63755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6632" y="2257425"/>
            <a:ext cx="10155768" cy="38687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B1ACDB-CC2A-46F6-8493-337C0C547172}"/>
              </a:ext>
            </a:extLst>
          </p:cNvPr>
          <p:cNvSpPr txBox="1"/>
          <p:nvPr userDrawn="1"/>
        </p:nvSpPr>
        <p:spPr>
          <a:xfrm>
            <a:off x="9335973" y="6607151"/>
            <a:ext cx="28031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en-GB" sz="800">
                <a:solidFill>
                  <a:srgbClr val="999999">
                    <a:lumMod val="75000"/>
                    <a:alpha val="50000"/>
                  </a:srgbClr>
                </a:solidFill>
              </a:rPr>
              <a:t>© Hitachi Europe Ltd. 2020. All rights reserved.</a:t>
            </a:r>
          </a:p>
        </p:txBody>
      </p:sp>
      <p:pic>
        <p:nvPicPr>
          <p:cNvPr id="33" name="Picture 3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1EAAD6D-DC33-4F7E-9F01-BB19844D51C6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608" y="159891"/>
            <a:ext cx="1490209" cy="427247"/>
          </a:xfrm>
          <a:prstGeom prst="rect">
            <a:avLst/>
          </a:prstGeom>
        </p:spPr>
      </p:pic>
      <p:grpSp>
        <p:nvGrpSpPr>
          <p:cNvPr id="35" name="グループ化 59">
            <a:extLst>
              <a:ext uri="{FF2B5EF4-FFF2-40B4-BE49-F238E27FC236}">
                <a16:creationId xmlns:a16="http://schemas.microsoft.com/office/drawing/2014/main" id="{803973FA-1B4F-4ACE-8BF4-3840310FF967}"/>
              </a:ext>
            </a:extLst>
          </p:cNvPr>
          <p:cNvGrpSpPr/>
          <p:nvPr userDrawn="1"/>
        </p:nvGrpSpPr>
        <p:grpSpPr>
          <a:xfrm>
            <a:off x="1" y="685801"/>
            <a:ext cx="12203783" cy="62521"/>
            <a:chOff x="-4" y="739775"/>
            <a:chExt cx="9145616" cy="76887"/>
          </a:xfrm>
        </p:grpSpPr>
        <p:sp>
          <p:nvSpPr>
            <p:cNvPr id="36" name="正方形/長方形 11">
              <a:extLst>
                <a:ext uri="{FF2B5EF4-FFF2-40B4-BE49-F238E27FC236}">
                  <a16:creationId xmlns:a16="http://schemas.microsoft.com/office/drawing/2014/main" id="{08015D2A-9569-42D4-A9CC-E38514CF9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1800"/>
            </a:p>
          </p:txBody>
        </p:sp>
        <p:grpSp>
          <p:nvGrpSpPr>
            <p:cNvPr id="37" name="グループ化 62">
              <a:extLst>
                <a:ext uri="{FF2B5EF4-FFF2-40B4-BE49-F238E27FC236}">
                  <a16:creationId xmlns:a16="http://schemas.microsoft.com/office/drawing/2014/main" id="{D6CC6738-0817-47C3-B376-4F6EA968E009}"/>
                </a:ext>
              </a:extLst>
            </p:cNvPr>
            <p:cNvGrpSpPr/>
            <p:nvPr userDrawn="1"/>
          </p:nvGrpSpPr>
          <p:grpSpPr>
            <a:xfrm>
              <a:off x="-4" y="739787"/>
              <a:ext cx="1481335" cy="76875"/>
              <a:chOff x="312738" y="2747963"/>
              <a:chExt cx="1970086" cy="113051"/>
            </a:xfrm>
          </p:grpSpPr>
          <p:sp>
            <p:nvSpPr>
              <p:cNvPr id="38" name="正方形/長方形 62">
                <a:extLst>
                  <a:ext uri="{FF2B5EF4-FFF2-40B4-BE49-F238E27FC236}">
                    <a16:creationId xmlns:a16="http://schemas.microsoft.com/office/drawing/2014/main" id="{C7547776-761C-42AC-A2EB-8B1961EE0FEA}"/>
                  </a:ext>
                </a:extLst>
              </p:cNvPr>
              <p:cNvSpPr/>
              <p:nvPr/>
            </p:nvSpPr>
            <p:spPr bwMode="auto">
              <a:xfrm>
                <a:off x="1298574" y="2747963"/>
                <a:ext cx="984250" cy="113051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9" name="正方形/長方形 63">
                <a:extLst>
                  <a:ext uri="{FF2B5EF4-FFF2-40B4-BE49-F238E27FC236}">
                    <a16:creationId xmlns:a16="http://schemas.microsoft.com/office/drawing/2014/main" id="{550260E8-8E2C-4ABD-9D81-41C2F0A62F44}"/>
                  </a:ext>
                </a:extLst>
              </p:cNvPr>
              <p:cNvSpPr/>
              <p:nvPr/>
            </p:nvSpPr>
            <p:spPr bwMode="auto">
              <a:xfrm>
                <a:off x="312738" y="2747963"/>
                <a:ext cx="985838" cy="113049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2784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9" r:id="rId17"/>
    <p:sldLayoutId id="2147483730" r:id="rId18"/>
    <p:sldLayoutId id="2147483731" r:id="rId19"/>
    <p:sldLayoutId id="2147483732" r:id="rId20"/>
    <p:sldLayoutId id="2147483733" r:id="rId21"/>
  </p:sldLayoutIdLst>
  <p:txStyles>
    <p:titleStyle>
      <a:lvl1pPr algn="l" defTabSz="457189" rtl="0" eaLnBrk="1" latinLnBrk="0" hangingPunct="1">
        <a:spcBef>
          <a:spcPct val="0"/>
        </a:spcBef>
        <a:buNone/>
        <a:defRPr sz="2400" kern="1200">
          <a:solidFill>
            <a:srgbClr val="DA291C"/>
          </a:solidFill>
          <a:latin typeface="+mj-lt"/>
          <a:ea typeface="+mj-ea"/>
          <a:cs typeface="Myriad Pro"/>
        </a:defRPr>
      </a:lvl1pPr>
    </p:titleStyle>
    <p:bodyStyle>
      <a:lvl1pPr marL="177796" indent="-177796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Myriad Pro"/>
        </a:defRPr>
      </a:lvl1pPr>
      <a:lvl2pPr marL="446077" indent="-222245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Myriad Pro"/>
        </a:defRPr>
      </a:lvl2pPr>
      <a:lvl3pPr marL="623872" indent="-177796" algn="l" defTabSz="45718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Myriad Pro"/>
        </a:defRPr>
      </a:lvl3pPr>
      <a:lvl4pPr marL="808018" indent="-184146" algn="l" defTabSz="457189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n-lt"/>
          <a:ea typeface="+mn-ea"/>
          <a:cs typeface="Myriad Pro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3" name="think-cell Slide" r:id="rId42" imgW="413" imgH="416" progId="TCLayout.ActiveDocument.1">
                  <p:embed/>
                </p:oleObj>
              </mc:Choice>
              <mc:Fallback>
                <p:oleObj name="think-cell Slide" r:id="rId4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3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29173" y="727480"/>
            <a:ext cx="9638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0" defTabSz="1242690" fontAlgn="base">
              <a:spcAft>
                <a:spcPct val="0"/>
              </a:spcAft>
              <a:tabLst>
                <a:tab pos="374569" algn="l"/>
              </a:tabLst>
            </a:pPr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26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103063"/>
            <a:ext cx="40876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4736" y="2170802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/>
              <a:t>Above Chart Exhibit Title</a:t>
            </a:r>
          </a:p>
          <a:p>
            <a:pPr lvl="0"/>
            <a:r>
              <a:rPr lang="en-GB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9177" y="2170802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2040991-77E0-4D2F-9ACC-E122F63FB834}"/>
              </a:ext>
            </a:extLst>
          </p:cNvPr>
          <p:cNvGrpSpPr/>
          <p:nvPr userDrawn="1"/>
        </p:nvGrpSpPr>
        <p:grpSpPr>
          <a:xfrm>
            <a:off x="10144193" y="3119451"/>
            <a:ext cx="1863379" cy="1142955"/>
            <a:chOff x="10162879" y="3212995"/>
            <a:chExt cx="1863377" cy="1142954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DC168207-7BC9-44A4-B2F4-FE1ACD33B9D8}"/>
                </a:ext>
              </a:extLst>
            </p:cNvPr>
            <p:cNvSpPr txBox="1"/>
            <p:nvPr/>
          </p:nvSpPr>
          <p:spPr>
            <a:xfrm>
              <a:off x="10886521" y="3212995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E90A61A-C251-498F-B988-EA1F89730741}"/>
                </a:ext>
              </a:extLst>
            </p:cNvPr>
            <p:cNvSpPr txBox="1"/>
            <p:nvPr/>
          </p:nvSpPr>
          <p:spPr>
            <a:xfrm>
              <a:off x="10886521" y="3584416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C7972C2-9BAB-4A4B-85ED-9C14DD451F11}"/>
                </a:ext>
              </a:extLst>
            </p:cNvPr>
            <p:cNvSpPr txBox="1"/>
            <p:nvPr/>
          </p:nvSpPr>
          <p:spPr>
            <a:xfrm>
              <a:off x="10886521" y="3955839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EDA214AD-3606-4B0E-9DFF-BF784A8F75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08CB2DCB-1A77-47E2-A95C-FB378C1F1F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B2ECDA05-6603-4CD4-9D06-56E8560E188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FBC1EA5-1ABC-42A3-806A-79918E0A4B31}"/>
              </a:ext>
            </a:extLst>
          </p:cNvPr>
          <p:cNvGrpSpPr/>
          <p:nvPr userDrawn="1"/>
        </p:nvGrpSpPr>
        <p:grpSpPr>
          <a:xfrm>
            <a:off x="10515195" y="1121956"/>
            <a:ext cx="1492369" cy="1901951"/>
            <a:chOff x="7723680" y="1679039"/>
            <a:chExt cx="1492367" cy="190194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BED26724-6F6D-4884-BC55-A0FA6F733C02}"/>
                </a:ext>
              </a:extLst>
            </p:cNvPr>
            <p:cNvSpPr txBox="1"/>
            <p:nvPr/>
          </p:nvSpPr>
          <p:spPr>
            <a:xfrm>
              <a:off x="8076312" y="1679039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9CF0E76-D745-4476-A8C8-B5E67C8B2DC8}"/>
                </a:ext>
              </a:extLst>
            </p:cNvPr>
            <p:cNvSpPr txBox="1"/>
            <p:nvPr/>
          </p:nvSpPr>
          <p:spPr>
            <a:xfrm>
              <a:off x="8076312" y="2054499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725B785-53C5-4BF1-9D8E-41F6E06154E2}"/>
                </a:ext>
              </a:extLst>
            </p:cNvPr>
            <p:cNvSpPr txBox="1"/>
            <p:nvPr/>
          </p:nvSpPr>
          <p:spPr>
            <a:xfrm>
              <a:off x="8076312" y="2429957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3746D32-DAF7-4B3D-8417-7BF8BBD6BE66}"/>
                </a:ext>
              </a:extLst>
            </p:cNvPr>
            <p:cNvSpPr txBox="1"/>
            <p:nvPr/>
          </p:nvSpPr>
          <p:spPr>
            <a:xfrm>
              <a:off x="8076312" y="2805417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0C9B282-A4C8-4B55-BEB2-5ECB1120E874}"/>
                </a:ext>
              </a:extLst>
            </p:cNvPr>
            <p:cNvSpPr txBox="1"/>
            <p:nvPr/>
          </p:nvSpPr>
          <p:spPr>
            <a:xfrm>
              <a:off x="8076312" y="3180878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F6162FD-88FF-455F-BE68-7C63DB599881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64AEF99-F7D9-410B-B82B-3A6D3CA048E6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20492D6-F147-4C8A-9E76-930731367E9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DC5C080-B9FB-4E28-995F-A209DA83199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E09B862-4910-461D-BE95-31D2DD61DE6F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D5CF14A-2F5E-4AF5-89EE-5576F037E853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33C793C-08E2-49A4-868D-E6B1310C24F4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8B04B60-0714-4A72-BC8E-594B7C06F15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513D1BD-772B-44EF-8A6A-EFBE7E9BA57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5AD32D3-F0F5-4E8C-8C65-72B919844135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885D2E-8FEB-4A6D-B30B-90BB76D1B1A9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A7CBBF2-8FA8-4452-8C77-FE22E1BDFD80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20AC928-8F0C-4450-9DB2-E0CE7D35B3B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478806E8-9CD4-4A58-A3C2-30AF1561CF7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A6730CF1-12B6-416E-BCFC-2BE44C38CEA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DE6700D-F0D7-4E47-99E4-3475A0A5A270}"/>
              </a:ext>
            </a:extLst>
          </p:cNvPr>
          <p:cNvGrpSpPr/>
          <p:nvPr userDrawn="1"/>
        </p:nvGrpSpPr>
        <p:grpSpPr>
          <a:xfrm>
            <a:off x="10541700" y="4350726"/>
            <a:ext cx="1465882" cy="1901951"/>
            <a:chOff x="10652400" y="4292047"/>
            <a:chExt cx="1465880" cy="1901949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AE621BBB-C3CB-432E-8798-D5279AB7277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EF8D17-C187-4086-A195-D25D9411B64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6843165-D717-4E10-8DDB-76D2A3DA668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9236F2F-0A5A-464C-B131-43CFC07370B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ED847EE-C8E8-4343-B459-6A2D03AF869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CDDD670-8189-489C-AB82-D3F390CCD9BD}"/>
                </a:ext>
              </a:extLst>
            </p:cNvPr>
            <p:cNvSpPr txBox="1"/>
            <p:nvPr/>
          </p:nvSpPr>
          <p:spPr>
            <a:xfrm>
              <a:off x="10978545" y="4292047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5733B7F-6A34-451E-BD6B-51A5F24A79AE}"/>
                </a:ext>
              </a:extLst>
            </p:cNvPr>
            <p:cNvSpPr txBox="1"/>
            <p:nvPr/>
          </p:nvSpPr>
          <p:spPr>
            <a:xfrm>
              <a:off x="10978546" y="4671547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DA7969CB-6D39-4988-8E27-6CC5A0174439}"/>
                </a:ext>
              </a:extLst>
            </p:cNvPr>
            <p:cNvSpPr txBox="1"/>
            <p:nvPr/>
          </p:nvSpPr>
          <p:spPr>
            <a:xfrm>
              <a:off x="10978546" y="5051044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68D0A0D3-590C-47DA-B8F7-82CAADB7741A}"/>
                </a:ext>
              </a:extLst>
            </p:cNvPr>
            <p:cNvSpPr txBox="1"/>
            <p:nvPr/>
          </p:nvSpPr>
          <p:spPr>
            <a:xfrm>
              <a:off x="10978546" y="5422465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27502893-C512-490D-B352-F9326A3DD96E}"/>
                </a:ext>
              </a:extLst>
            </p:cNvPr>
            <p:cNvSpPr txBox="1"/>
            <p:nvPr/>
          </p:nvSpPr>
          <p:spPr>
            <a:xfrm>
              <a:off x="10978545" y="5793886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7B773323-A7AC-448B-9ED6-C4C107F95CBD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1. All rights reserved.</a:t>
            </a:r>
          </a:p>
        </p:txBody>
      </p:sp>
      <p:sp>
        <p:nvSpPr>
          <p:cNvPr id="154" name="Freeform 23">
            <a:extLst>
              <a:ext uri="{FF2B5EF4-FFF2-40B4-BE49-F238E27FC236}">
                <a16:creationId xmlns:a16="http://schemas.microsoft.com/office/drawing/2014/main" id="{E7915E18-178E-411B-8ABE-39B9A35A96B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016342D3-BB39-4A40-ABEC-782F1F7DBE0A}"/>
              </a:ext>
            </a:extLst>
          </p:cNvPr>
          <p:cNvGrpSpPr/>
          <p:nvPr userDrawn="1"/>
        </p:nvGrpSpPr>
        <p:grpSpPr>
          <a:xfrm>
            <a:off x="10589172" y="193146"/>
            <a:ext cx="1195200" cy="342857"/>
            <a:chOff x="10442064" y="193144"/>
            <a:chExt cx="1195200" cy="342857"/>
          </a:xfrm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C6F2E09C-1DA6-4504-B67F-725F32748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0" name="Freeform 7">
              <a:extLst>
                <a:ext uri="{FF2B5EF4-FFF2-40B4-BE49-F238E27FC236}">
                  <a16:creationId xmlns:a16="http://schemas.microsoft.com/office/drawing/2014/main" id="{6F9D22D9-5663-46C8-98DC-7D661DABD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1" name="Freeform 9">
              <a:extLst>
                <a:ext uri="{FF2B5EF4-FFF2-40B4-BE49-F238E27FC236}">
                  <a16:creationId xmlns:a16="http://schemas.microsoft.com/office/drawing/2014/main" id="{9BB0CDA0-ABA2-4015-AACF-1EF3DED5CE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5B5677-C4F7-4976-AA89-6D12BD251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789BB306-E333-4247-936C-0C3B258E5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5F81856-94C5-4387-AD0C-C670CA88B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BB3A0DB3-B361-4E91-8A95-F2D22780F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8C72210F-3FC7-4757-AFC8-307521BC7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00854618-7163-45CF-840D-B36A7B33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0" name="Freeform 22">
              <a:extLst>
                <a:ext uri="{FF2B5EF4-FFF2-40B4-BE49-F238E27FC236}">
                  <a16:creationId xmlns:a16="http://schemas.microsoft.com/office/drawing/2014/main" id="{1C0D2430-60A6-4464-A071-04A5EDEE5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1" name="Freeform 31">
              <a:extLst>
                <a:ext uri="{FF2B5EF4-FFF2-40B4-BE49-F238E27FC236}">
                  <a16:creationId xmlns:a16="http://schemas.microsoft.com/office/drawing/2014/main" id="{C72FE7A9-ED1C-4547-AE80-A460276CD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2" name="Freeform 27">
              <a:extLst>
                <a:ext uri="{FF2B5EF4-FFF2-40B4-BE49-F238E27FC236}">
                  <a16:creationId xmlns:a16="http://schemas.microsoft.com/office/drawing/2014/main" id="{E8D74A95-F2D5-4207-956D-C8852E227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3" name="Freeform 29">
              <a:extLst>
                <a:ext uri="{FF2B5EF4-FFF2-40B4-BE49-F238E27FC236}">
                  <a16:creationId xmlns:a16="http://schemas.microsoft.com/office/drawing/2014/main" id="{A7208A05-AB67-46E7-A536-07BCA782D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778B27B-0965-4D9E-B768-E9670C39F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5" name="Freeform 33">
              <a:extLst>
                <a:ext uri="{FF2B5EF4-FFF2-40B4-BE49-F238E27FC236}">
                  <a16:creationId xmlns:a16="http://schemas.microsoft.com/office/drawing/2014/main" id="{2EAA16CD-A173-4DF9-8E4F-D129CCA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6" name="Freeform 36">
              <a:extLst>
                <a:ext uri="{FF2B5EF4-FFF2-40B4-BE49-F238E27FC236}">
                  <a16:creationId xmlns:a16="http://schemas.microsoft.com/office/drawing/2014/main" id="{A459398A-7DBD-4DA3-B2E7-B0E679AED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7" name="Freeform 38">
              <a:extLst>
                <a:ext uri="{FF2B5EF4-FFF2-40B4-BE49-F238E27FC236}">
                  <a16:creationId xmlns:a16="http://schemas.microsoft.com/office/drawing/2014/main" id="{826C9866-138A-4E8A-84D0-B1AA9BD8C1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8" name="Freeform 41">
              <a:extLst>
                <a:ext uri="{FF2B5EF4-FFF2-40B4-BE49-F238E27FC236}">
                  <a16:creationId xmlns:a16="http://schemas.microsoft.com/office/drawing/2014/main" id="{1EFE03DB-4CF4-43CB-837E-6D69F774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79" name="Freeform 43">
              <a:extLst>
                <a:ext uri="{FF2B5EF4-FFF2-40B4-BE49-F238E27FC236}">
                  <a16:creationId xmlns:a16="http://schemas.microsoft.com/office/drawing/2014/main" id="{7D594242-24FD-4A59-B170-AFD0B433A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0" name="Freeform 45">
              <a:extLst>
                <a:ext uri="{FF2B5EF4-FFF2-40B4-BE49-F238E27FC236}">
                  <a16:creationId xmlns:a16="http://schemas.microsoft.com/office/drawing/2014/main" id="{BC2BC67B-50AF-41C6-B3B4-BE225234B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1" name="Freeform 48">
              <a:extLst>
                <a:ext uri="{FF2B5EF4-FFF2-40B4-BE49-F238E27FC236}">
                  <a16:creationId xmlns:a16="http://schemas.microsoft.com/office/drawing/2014/main" id="{6C60BAE3-900D-4DF2-81EB-9744A7D47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2" name="Freeform 50">
              <a:extLst>
                <a:ext uri="{FF2B5EF4-FFF2-40B4-BE49-F238E27FC236}">
                  <a16:creationId xmlns:a16="http://schemas.microsoft.com/office/drawing/2014/main" id="{3A5816E1-12F5-4F7E-A291-FAA557FAF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3" name="Freeform 52">
              <a:extLst>
                <a:ext uri="{FF2B5EF4-FFF2-40B4-BE49-F238E27FC236}">
                  <a16:creationId xmlns:a16="http://schemas.microsoft.com/office/drawing/2014/main" id="{E0573B79-1771-4810-98DE-4A37E5AB9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9424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</p:sldLayoutIdLst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lang="en-US" sz="1800" b="1" kern="1200" cap="all" spc="0" baseline="0" dirty="0">
          <a:ln w="6350" cap="flat">
            <a:noFill/>
            <a:miter lim="800000"/>
          </a:ln>
          <a:solidFill>
            <a:schemeClr val="accent6"/>
          </a:solidFill>
          <a:latin typeface="+mn-lt"/>
          <a:ea typeface="+mn-ea"/>
          <a:cs typeface="+mn-cs"/>
        </a:defRPr>
      </a:lvl1pPr>
    </p:titleStyle>
    <p:bodyStyle>
      <a:lvl1pPr marL="0" indent="0" algn="l" defTabSz="914354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89" indent="-228589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890" indent="-210301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30" indent="-155440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776" indent="-146296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" name="think-cell Slide" r:id="rId40" imgW="413" imgH="416" progId="TCLayout.ActiveDocument.1">
                  <p:embed/>
                </p:oleObj>
              </mc:Choice>
              <mc:Fallback>
                <p:oleObj name="think-cell Slide" r:id="rId4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 dirty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2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29173" y="727479"/>
            <a:ext cx="9638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0" defTabSz="1242721" fontAlgn="base">
              <a:spcAft>
                <a:spcPct val="0"/>
              </a:spcAft>
              <a:tabLst>
                <a:tab pos="374579" algn="l"/>
              </a:tabLst>
            </a:pPr>
            <a:r>
              <a:rPr lang="en-GB" dirty="0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2600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103062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4736" y="2170801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 dirty="0"/>
              <a:t>Above Chart Exhibit Title</a:t>
            </a:r>
          </a:p>
          <a:p>
            <a:pPr lvl="0"/>
            <a:r>
              <a:rPr lang="en-GB" sz="16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9175" y="2170800"/>
            <a:ext cx="248465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2040991-77E0-4D2F-9ACC-E122F63FB834}"/>
              </a:ext>
            </a:extLst>
          </p:cNvPr>
          <p:cNvGrpSpPr/>
          <p:nvPr userDrawn="1"/>
        </p:nvGrpSpPr>
        <p:grpSpPr>
          <a:xfrm>
            <a:off x="10144188" y="3119449"/>
            <a:ext cx="1697115" cy="1142955"/>
            <a:chOff x="10162879" y="3212995"/>
            <a:chExt cx="1697114" cy="1142954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DC168207-7BC9-44A4-B2F4-FE1ACD33B9D8}"/>
                </a:ext>
              </a:extLst>
            </p:cNvPr>
            <p:cNvSpPr txBox="1"/>
            <p:nvPr/>
          </p:nvSpPr>
          <p:spPr>
            <a:xfrm>
              <a:off x="10886521" y="3212995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E90A61A-C251-498F-B988-EA1F89730741}"/>
                </a:ext>
              </a:extLst>
            </p:cNvPr>
            <p:cNvSpPr txBox="1"/>
            <p:nvPr/>
          </p:nvSpPr>
          <p:spPr>
            <a:xfrm>
              <a:off x="10886521" y="3584416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C7972C2-9BAB-4A4B-85ED-9C14DD451F11}"/>
                </a:ext>
              </a:extLst>
            </p:cNvPr>
            <p:cNvSpPr txBox="1"/>
            <p:nvPr/>
          </p:nvSpPr>
          <p:spPr>
            <a:xfrm>
              <a:off x="10886521" y="3955839"/>
              <a:ext cx="973472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EDA214AD-3606-4B0E-9DFF-BF784A8F75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08CB2DCB-1A77-47E2-A95C-FB378C1F1F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B2ECDA05-6603-4CD4-9D06-56E8560E188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FBC1EA5-1ABC-42A3-806A-79918E0A4B31}"/>
              </a:ext>
            </a:extLst>
          </p:cNvPr>
          <p:cNvGrpSpPr/>
          <p:nvPr userDrawn="1"/>
        </p:nvGrpSpPr>
        <p:grpSpPr>
          <a:xfrm>
            <a:off x="10515193" y="1121955"/>
            <a:ext cx="1326104" cy="1901950"/>
            <a:chOff x="7723680" y="1679039"/>
            <a:chExt cx="1326103" cy="190194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BED26724-6F6D-4884-BC55-A0FA6F733C02}"/>
                </a:ext>
              </a:extLst>
            </p:cNvPr>
            <p:cNvSpPr txBox="1"/>
            <p:nvPr/>
          </p:nvSpPr>
          <p:spPr>
            <a:xfrm>
              <a:off x="8076312" y="1679039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9CF0E76-D745-4476-A8C8-B5E67C8B2DC8}"/>
                </a:ext>
              </a:extLst>
            </p:cNvPr>
            <p:cNvSpPr txBox="1"/>
            <p:nvPr/>
          </p:nvSpPr>
          <p:spPr>
            <a:xfrm>
              <a:off x="8076312" y="2054498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725B785-53C5-4BF1-9D8E-41F6E06154E2}"/>
                </a:ext>
              </a:extLst>
            </p:cNvPr>
            <p:cNvSpPr txBox="1"/>
            <p:nvPr/>
          </p:nvSpPr>
          <p:spPr>
            <a:xfrm>
              <a:off x="8076312" y="2429957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3746D32-DAF7-4B3D-8417-7BF8BBD6BE66}"/>
                </a:ext>
              </a:extLst>
            </p:cNvPr>
            <p:cNvSpPr txBox="1"/>
            <p:nvPr/>
          </p:nvSpPr>
          <p:spPr>
            <a:xfrm>
              <a:off x="8076312" y="280541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0C9B282-A4C8-4B55-BEB2-5ECB1120E874}"/>
                </a:ext>
              </a:extLst>
            </p:cNvPr>
            <p:cNvSpPr txBox="1"/>
            <p:nvPr/>
          </p:nvSpPr>
          <p:spPr>
            <a:xfrm>
              <a:off x="8076312" y="3180878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F6162FD-88FF-455F-BE68-7C63DB599881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64AEF99-F7D9-410B-B82B-3A6D3CA048E6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20492D6-F147-4C8A-9E76-930731367E9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DC5C080-B9FB-4E28-995F-A209DA83199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E09B862-4910-461D-BE95-31D2DD61DE6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D5CF14A-2F5E-4AF5-89EE-5576F037E85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33C793C-08E2-49A4-868D-E6B1310C24F4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8B04B60-0714-4A72-BC8E-594B7C06F15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513D1BD-772B-44EF-8A6A-EFBE7E9BA57E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5AD32D3-F0F5-4E8C-8C65-72B919844135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885D2E-8FEB-4A6D-B30B-90BB76D1B1A9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A7CBBF2-8FA8-4452-8C77-FE22E1BDFD80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20AC928-8F0C-4450-9DB2-E0CE7D35B3B6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478806E8-9CD4-4A58-A3C2-30AF1561CF79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A6730CF1-12B6-416E-BCFC-2BE44C38CEA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DE6700D-F0D7-4E47-99E4-3475A0A5A270}"/>
              </a:ext>
            </a:extLst>
          </p:cNvPr>
          <p:cNvGrpSpPr/>
          <p:nvPr userDrawn="1"/>
        </p:nvGrpSpPr>
        <p:grpSpPr>
          <a:xfrm>
            <a:off x="10541692" y="4350724"/>
            <a:ext cx="1299618" cy="1901950"/>
            <a:chOff x="10652400" y="4292047"/>
            <a:chExt cx="1299617" cy="1901949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AE621BBB-C3CB-432E-8798-D5279AB7277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EF8D17-C187-4086-A195-D25D9411B64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6843165-D717-4E10-8DDB-76D2A3DA668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9236F2F-0A5A-464C-B131-43CFC07370B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ED847EE-C8E8-4343-B459-6A2D03AF869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CDDD670-8189-489C-AB82-D3F390CCD9BD}"/>
                </a:ext>
              </a:extLst>
            </p:cNvPr>
            <p:cNvSpPr txBox="1"/>
            <p:nvPr/>
          </p:nvSpPr>
          <p:spPr>
            <a:xfrm>
              <a:off x="10978545" y="4292047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5733B7F-6A34-451E-BD6B-51A5F24A79AE}"/>
                </a:ext>
              </a:extLst>
            </p:cNvPr>
            <p:cNvSpPr txBox="1"/>
            <p:nvPr/>
          </p:nvSpPr>
          <p:spPr>
            <a:xfrm>
              <a:off x="10978546" y="467154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DA7969CB-6D39-4988-8E27-6CC5A0174439}"/>
                </a:ext>
              </a:extLst>
            </p:cNvPr>
            <p:cNvSpPr txBox="1"/>
            <p:nvPr/>
          </p:nvSpPr>
          <p:spPr>
            <a:xfrm>
              <a:off x="10978546" y="5051043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68D0A0D3-590C-47DA-B8F7-82CAADB7741A}"/>
                </a:ext>
              </a:extLst>
            </p:cNvPr>
            <p:cNvSpPr txBox="1"/>
            <p:nvPr/>
          </p:nvSpPr>
          <p:spPr>
            <a:xfrm>
              <a:off x="10978546" y="5422464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27502893-C512-490D-B352-F9326A3DD96E}"/>
                </a:ext>
              </a:extLst>
            </p:cNvPr>
            <p:cNvSpPr txBox="1"/>
            <p:nvPr/>
          </p:nvSpPr>
          <p:spPr>
            <a:xfrm>
              <a:off x="10978545" y="5793886"/>
              <a:ext cx="973471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 dirty="0"/>
                <a:t>Legend</a:t>
              </a: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7B773323-A7AC-448B-9ED6-C4C107F95CBD}"/>
              </a:ext>
            </a:extLst>
          </p:cNvPr>
          <p:cNvSpPr txBox="1"/>
          <p:nvPr userDrawn="1"/>
        </p:nvSpPr>
        <p:spPr>
          <a:xfrm>
            <a:off x="9135840" y="6498755"/>
            <a:ext cx="2123979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 dirty="0"/>
              <a:t>© Hitachi Europe Ltd. 2021. All rights reserved.</a:t>
            </a:r>
          </a:p>
        </p:txBody>
      </p:sp>
      <p:sp>
        <p:nvSpPr>
          <p:cNvPr id="154" name="Freeform 23">
            <a:extLst>
              <a:ext uri="{FF2B5EF4-FFF2-40B4-BE49-F238E27FC236}">
                <a16:creationId xmlns:a16="http://schemas.microsoft.com/office/drawing/2014/main" id="{E7915E18-178E-411B-8ABE-39B9A35A96B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7" y="1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39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pic>
        <p:nvPicPr>
          <p:cNvPr id="184" name="図 43" descr="ea60_010_030_dwin.wmf">
            <a:extLst>
              <a:ext uri="{FF2B5EF4-FFF2-40B4-BE49-F238E27FC236}">
                <a16:creationId xmlns:a16="http://schemas.microsoft.com/office/drawing/2014/main" id="{4E6E19B7-B2EE-F34E-BC30-34906D148E8D}"/>
              </a:ext>
            </a:extLst>
          </p:cNvPr>
          <p:cNvPicPr>
            <a:picLocks noChangeAspect="1"/>
          </p:cNvPicPr>
          <p:nvPr userDrawn="1"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2488" y="284549"/>
            <a:ext cx="2281927" cy="65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320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7" r:id="rId3"/>
    <p:sldLayoutId id="2147483758" r:id="rId4"/>
    <p:sldLayoutId id="2147483759" r:id="rId5"/>
    <p:sldLayoutId id="2147483760" r:id="rId6"/>
    <p:sldLayoutId id="2147483761" r:id="rId7"/>
    <p:sldLayoutId id="2147483762" r:id="rId8"/>
    <p:sldLayoutId id="2147483763" r:id="rId9"/>
    <p:sldLayoutId id="2147483764" r:id="rId10"/>
    <p:sldLayoutId id="2147483765" r:id="rId11"/>
    <p:sldLayoutId id="2147483766" r:id="rId12"/>
    <p:sldLayoutId id="2147483767" r:id="rId13"/>
    <p:sldLayoutId id="2147483768" r:id="rId14"/>
    <p:sldLayoutId id="2147483769" r:id="rId15"/>
    <p:sldLayoutId id="2147483770" r:id="rId16"/>
    <p:sldLayoutId id="2147483771" r:id="rId17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1800" b="1" kern="1200" cap="all" spc="0" baseline="0" dirty="0">
          <a:ln w="6350" cap="flat">
            <a:noFill/>
            <a:miter lim="800000"/>
          </a:ln>
          <a:solidFill>
            <a:schemeClr val="accent6"/>
          </a:solidFill>
          <a:latin typeface="+mn-lt"/>
          <a:ea typeface="+mn-ea"/>
          <a:cs typeface="+mn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859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01" indent="-210307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45" indent="-155444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796" indent="-14630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26634" y="902793"/>
            <a:ext cx="10155767" cy="63755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6632" y="2257425"/>
            <a:ext cx="10155768" cy="38687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B1ACDB-CC2A-46F6-8493-337C0C547172}"/>
              </a:ext>
            </a:extLst>
          </p:cNvPr>
          <p:cNvSpPr txBox="1"/>
          <p:nvPr userDrawn="1"/>
        </p:nvSpPr>
        <p:spPr>
          <a:xfrm>
            <a:off x="9335973" y="6607151"/>
            <a:ext cx="28031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en-GB" sz="800">
                <a:solidFill>
                  <a:srgbClr val="999999">
                    <a:lumMod val="75000"/>
                    <a:alpha val="50000"/>
                  </a:srgbClr>
                </a:solidFill>
              </a:rPr>
              <a:t>© Hitachi Europe Ltd. 2021. All rights reserved.</a:t>
            </a:r>
          </a:p>
        </p:txBody>
      </p:sp>
      <p:pic>
        <p:nvPicPr>
          <p:cNvPr id="33" name="Picture 3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1EAAD6D-DC33-4F7E-9F01-BB19844D51C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608" y="159891"/>
            <a:ext cx="1490209" cy="427247"/>
          </a:xfrm>
          <a:prstGeom prst="rect">
            <a:avLst/>
          </a:prstGeom>
        </p:spPr>
      </p:pic>
      <p:grpSp>
        <p:nvGrpSpPr>
          <p:cNvPr id="35" name="グループ化 59">
            <a:extLst>
              <a:ext uri="{FF2B5EF4-FFF2-40B4-BE49-F238E27FC236}">
                <a16:creationId xmlns:a16="http://schemas.microsoft.com/office/drawing/2014/main" id="{803973FA-1B4F-4ACE-8BF4-3840310FF967}"/>
              </a:ext>
            </a:extLst>
          </p:cNvPr>
          <p:cNvGrpSpPr/>
          <p:nvPr userDrawn="1"/>
        </p:nvGrpSpPr>
        <p:grpSpPr>
          <a:xfrm>
            <a:off x="1" y="685801"/>
            <a:ext cx="12203783" cy="62521"/>
            <a:chOff x="-4" y="739775"/>
            <a:chExt cx="9145616" cy="76887"/>
          </a:xfrm>
        </p:grpSpPr>
        <p:sp>
          <p:nvSpPr>
            <p:cNvPr id="36" name="正方形/長方形 11">
              <a:extLst>
                <a:ext uri="{FF2B5EF4-FFF2-40B4-BE49-F238E27FC236}">
                  <a16:creationId xmlns:a16="http://schemas.microsoft.com/office/drawing/2014/main" id="{08015D2A-9569-42D4-A9CC-E38514CF9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1800"/>
            </a:p>
          </p:txBody>
        </p:sp>
        <p:grpSp>
          <p:nvGrpSpPr>
            <p:cNvPr id="37" name="グループ化 62">
              <a:extLst>
                <a:ext uri="{FF2B5EF4-FFF2-40B4-BE49-F238E27FC236}">
                  <a16:creationId xmlns:a16="http://schemas.microsoft.com/office/drawing/2014/main" id="{D6CC6738-0817-47C3-B376-4F6EA968E009}"/>
                </a:ext>
              </a:extLst>
            </p:cNvPr>
            <p:cNvGrpSpPr/>
            <p:nvPr userDrawn="1"/>
          </p:nvGrpSpPr>
          <p:grpSpPr>
            <a:xfrm>
              <a:off x="-4" y="739787"/>
              <a:ext cx="1481335" cy="76875"/>
              <a:chOff x="312738" y="2747963"/>
              <a:chExt cx="1970086" cy="113051"/>
            </a:xfrm>
          </p:grpSpPr>
          <p:sp>
            <p:nvSpPr>
              <p:cNvPr id="38" name="正方形/長方形 62">
                <a:extLst>
                  <a:ext uri="{FF2B5EF4-FFF2-40B4-BE49-F238E27FC236}">
                    <a16:creationId xmlns:a16="http://schemas.microsoft.com/office/drawing/2014/main" id="{C7547776-761C-42AC-A2EB-8B1961EE0FEA}"/>
                  </a:ext>
                </a:extLst>
              </p:cNvPr>
              <p:cNvSpPr/>
              <p:nvPr/>
            </p:nvSpPr>
            <p:spPr bwMode="auto">
              <a:xfrm>
                <a:off x="1298574" y="2747963"/>
                <a:ext cx="984250" cy="113051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9" name="正方形/長方形 63">
                <a:extLst>
                  <a:ext uri="{FF2B5EF4-FFF2-40B4-BE49-F238E27FC236}">
                    <a16:creationId xmlns:a16="http://schemas.microsoft.com/office/drawing/2014/main" id="{550260E8-8E2C-4ABD-9D81-41C2F0A62F44}"/>
                  </a:ext>
                </a:extLst>
              </p:cNvPr>
              <p:cNvSpPr/>
              <p:nvPr/>
            </p:nvSpPr>
            <p:spPr bwMode="auto">
              <a:xfrm>
                <a:off x="312738" y="2747963"/>
                <a:ext cx="985838" cy="113049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62116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</p:sldLayoutIdLst>
  <p:txStyles>
    <p:titleStyle>
      <a:lvl1pPr algn="l" defTabSz="457189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Myriad Pro"/>
        </a:defRPr>
      </a:lvl1pPr>
    </p:titleStyle>
    <p:bodyStyle>
      <a:lvl1pPr marL="177796" indent="-177796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Myriad Pro"/>
        </a:defRPr>
      </a:lvl1pPr>
      <a:lvl2pPr marL="446077" indent="-222245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Myriad Pro"/>
        </a:defRPr>
      </a:lvl2pPr>
      <a:lvl3pPr marL="623872" indent="-177796" algn="l" defTabSz="45718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Myriad Pro"/>
        </a:defRPr>
      </a:lvl3pPr>
      <a:lvl4pPr marL="808018" indent="-184146" algn="l" defTabSz="457189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n-lt"/>
          <a:ea typeface="+mn-ea"/>
          <a:cs typeface="Myriad Pro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26634" y="902793"/>
            <a:ext cx="10155767" cy="63755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6632" y="2257425"/>
            <a:ext cx="10155768" cy="386873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BB1ACDB-CC2A-46F6-8493-337C0C547172}"/>
              </a:ext>
            </a:extLst>
          </p:cNvPr>
          <p:cNvSpPr txBox="1"/>
          <p:nvPr userDrawn="1"/>
        </p:nvSpPr>
        <p:spPr>
          <a:xfrm>
            <a:off x="9335973" y="6607151"/>
            <a:ext cx="280314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/>
            <a:r>
              <a:rPr lang="en-GB" sz="800">
                <a:solidFill>
                  <a:srgbClr val="999999">
                    <a:lumMod val="75000"/>
                    <a:alpha val="50000"/>
                  </a:srgbClr>
                </a:solidFill>
              </a:rPr>
              <a:t>© Hitachi Europe Ltd. 2021. All rights reserved.</a:t>
            </a:r>
          </a:p>
        </p:txBody>
      </p:sp>
      <p:pic>
        <p:nvPicPr>
          <p:cNvPr id="33" name="Picture 32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61EAAD6D-DC33-4F7E-9F01-BB19844D51C6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6608" y="159891"/>
            <a:ext cx="1490209" cy="427247"/>
          </a:xfrm>
          <a:prstGeom prst="rect">
            <a:avLst/>
          </a:prstGeom>
        </p:spPr>
      </p:pic>
      <p:grpSp>
        <p:nvGrpSpPr>
          <p:cNvPr id="35" name="グループ化 59">
            <a:extLst>
              <a:ext uri="{FF2B5EF4-FFF2-40B4-BE49-F238E27FC236}">
                <a16:creationId xmlns:a16="http://schemas.microsoft.com/office/drawing/2014/main" id="{803973FA-1B4F-4ACE-8BF4-3840310FF967}"/>
              </a:ext>
            </a:extLst>
          </p:cNvPr>
          <p:cNvGrpSpPr/>
          <p:nvPr userDrawn="1"/>
        </p:nvGrpSpPr>
        <p:grpSpPr>
          <a:xfrm>
            <a:off x="1" y="685801"/>
            <a:ext cx="12203783" cy="62521"/>
            <a:chOff x="-4" y="739775"/>
            <a:chExt cx="9145616" cy="76887"/>
          </a:xfrm>
        </p:grpSpPr>
        <p:sp>
          <p:nvSpPr>
            <p:cNvPr id="36" name="正方形/長方形 11">
              <a:extLst>
                <a:ext uri="{FF2B5EF4-FFF2-40B4-BE49-F238E27FC236}">
                  <a16:creationId xmlns:a16="http://schemas.microsoft.com/office/drawing/2014/main" id="{08015D2A-9569-42D4-A9CC-E38514CF95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1331" y="739775"/>
              <a:ext cx="7664281" cy="76874"/>
            </a:xfrm>
            <a:prstGeom prst="rect">
              <a:avLst/>
            </a:prstGeom>
            <a:solidFill>
              <a:srgbClr val="73737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ja-JP" altLang="en-US" sz="1800"/>
            </a:p>
          </p:txBody>
        </p:sp>
        <p:grpSp>
          <p:nvGrpSpPr>
            <p:cNvPr id="37" name="グループ化 62">
              <a:extLst>
                <a:ext uri="{FF2B5EF4-FFF2-40B4-BE49-F238E27FC236}">
                  <a16:creationId xmlns:a16="http://schemas.microsoft.com/office/drawing/2014/main" id="{D6CC6738-0817-47C3-B376-4F6EA968E009}"/>
                </a:ext>
              </a:extLst>
            </p:cNvPr>
            <p:cNvGrpSpPr/>
            <p:nvPr userDrawn="1"/>
          </p:nvGrpSpPr>
          <p:grpSpPr>
            <a:xfrm>
              <a:off x="-4" y="739787"/>
              <a:ext cx="1481335" cy="76875"/>
              <a:chOff x="312738" y="2747963"/>
              <a:chExt cx="1970086" cy="113051"/>
            </a:xfrm>
          </p:grpSpPr>
          <p:sp>
            <p:nvSpPr>
              <p:cNvPr id="38" name="正方形/長方形 62">
                <a:extLst>
                  <a:ext uri="{FF2B5EF4-FFF2-40B4-BE49-F238E27FC236}">
                    <a16:creationId xmlns:a16="http://schemas.microsoft.com/office/drawing/2014/main" id="{C7547776-761C-42AC-A2EB-8B1961EE0FEA}"/>
                  </a:ext>
                </a:extLst>
              </p:cNvPr>
              <p:cNvSpPr/>
              <p:nvPr/>
            </p:nvSpPr>
            <p:spPr bwMode="auto">
              <a:xfrm>
                <a:off x="1298574" y="2747963"/>
                <a:ext cx="984250" cy="113051"/>
              </a:xfrm>
              <a:prstGeom prst="rect">
                <a:avLst/>
              </a:prstGeom>
              <a:solidFill>
                <a:srgbClr val="CC0000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9" name="正方形/長方形 63">
                <a:extLst>
                  <a:ext uri="{FF2B5EF4-FFF2-40B4-BE49-F238E27FC236}">
                    <a16:creationId xmlns:a16="http://schemas.microsoft.com/office/drawing/2014/main" id="{550260E8-8E2C-4ABD-9D81-41C2F0A62F44}"/>
                  </a:ext>
                </a:extLst>
              </p:cNvPr>
              <p:cNvSpPr/>
              <p:nvPr/>
            </p:nvSpPr>
            <p:spPr bwMode="auto">
              <a:xfrm>
                <a:off x="312738" y="2747963"/>
                <a:ext cx="985838" cy="113049"/>
              </a:xfrm>
              <a:prstGeom prst="rect">
                <a:avLst/>
              </a:prstGeom>
              <a:solidFill>
                <a:srgbClr val="B3B3B3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l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ja-JP" altLang="en-US" sz="1800" kern="0">
                  <a:solidFill>
                    <a:sysClr val="windowText" lastClr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3563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  <p:sldLayoutId id="2147483795" r:id="rId13"/>
    <p:sldLayoutId id="2147483796" r:id="rId14"/>
    <p:sldLayoutId id="2147483797" r:id="rId15"/>
  </p:sldLayoutIdLst>
  <p:txStyles>
    <p:titleStyle>
      <a:lvl1pPr algn="l" defTabSz="457189" rtl="0" eaLnBrk="1" latinLnBrk="0" hangingPunct="1">
        <a:spcBef>
          <a:spcPct val="0"/>
        </a:spcBef>
        <a:buNone/>
        <a:defRPr sz="2400" kern="1200">
          <a:solidFill>
            <a:srgbClr val="DA291C"/>
          </a:solidFill>
          <a:latin typeface="+mj-lt"/>
          <a:ea typeface="+mj-ea"/>
          <a:cs typeface="Myriad Pro"/>
        </a:defRPr>
      </a:lvl1pPr>
    </p:titleStyle>
    <p:bodyStyle>
      <a:lvl1pPr marL="177796" indent="-177796" algn="l" defTabSz="457189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Myriad Pro"/>
        </a:defRPr>
      </a:lvl1pPr>
      <a:lvl2pPr marL="446077" indent="-222245" algn="l" defTabSz="457189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Myriad Pro"/>
        </a:defRPr>
      </a:lvl2pPr>
      <a:lvl3pPr marL="623872" indent="-177796" algn="l" defTabSz="457189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Myriad Pro"/>
        </a:defRPr>
      </a:lvl3pPr>
      <a:lvl4pPr marL="808018" indent="-184146" algn="l" defTabSz="457189" rtl="0" eaLnBrk="1" latinLnBrk="0" hangingPunct="1">
        <a:spcBef>
          <a:spcPct val="20000"/>
        </a:spcBef>
        <a:buFont typeface="Arial"/>
        <a:buChar char="–"/>
        <a:defRPr sz="1200" kern="1200">
          <a:solidFill>
            <a:schemeClr val="tx1"/>
          </a:solidFill>
          <a:latin typeface="+mn-lt"/>
          <a:ea typeface="+mn-ea"/>
          <a:cs typeface="Myriad Pro"/>
        </a:defRPr>
      </a:lvl4pPr>
      <a:lvl5pPr marL="2057349" indent="-228594" algn="l" defTabSz="45718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45718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45718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3" name="think-cell Slide" r:id="rId43" imgW="413" imgH="416" progId="TCLayout.ActiveDocument.1">
                  <p:embed/>
                </p:oleObj>
              </mc:Choice>
              <mc:Fallback>
                <p:oleObj name="think-cell Slide" r:id="rId4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1800" b="1" i="0" baseline="0">
              <a:solidFill>
                <a:schemeClr val="bg1"/>
              </a:solidFill>
              <a:latin typeface="Open Sans" panose="020B0606030504020204" pitchFamily="34" charset="0"/>
              <a:ea typeface="+mn-ea"/>
              <a:cs typeface="+mn-cs"/>
              <a:sym typeface="Open Sans" panose="020B0606030504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3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29173" y="727480"/>
            <a:ext cx="9638075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0" lvl="0" defTabSz="1242690" fontAlgn="base">
              <a:spcAft>
                <a:spcPct val="0"/>
              </a:spcAft>
              <a:tabLst>
                <a:tab pos="374569" algn="l"/>
              </a:tabLst>
            </a:pPr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26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103063"/>
            <a:ext cx="40876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4736" y="2170802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/>
              <a:t>Above Chart Exhibit Title</a:t>
            </a:r>
          </a:p>
          <a:p>
            <a:pPr lvl="0"/>
            <a:r>
              <a:rPr lang="en-GB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9177" y="2170802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22040991-77E0-4D2F-9ACC-E122F63FB834}"/>
              </a:ext>
            </a:extLst>
          </p:cNvPr>
          <p:cNvGrpSpPr/>
          <p:nvPr userDrawn="1"/>
        </p:nvGrpSpPr>
        <p:grpSpPr>
          <a:xfrm>
            <a:off x="10144193" y="3119451"/>
            <a:ext cx="1863379" cy="1142955"/>
            <a:chOff x="10162879" y="3212995"/>
            <a:chExt cx="1863377" cy="1142954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DC168207-7BC9-44A4-B2F4-FE1ACD33B9D8}"/>
                </a:ext>
              </a:extLst>
            </p:cNvPr>
            <p:cNvSpPr txBox="1"/>
            <p:nvPr/>
          </p:nvSpPr>
          <p:spPr>
            <a:xfrm>
              <a:off x="10886521" y="3212995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E90A61A-C251-498F-B988-EA1F89730741}"/>
                </a:ext>
              </a:extLst>
            </p:cNvPr>
            <p:cNvSpPr txBox="1"/>
            <p:nvPr/>
          </p:nvSpPr>
          <p:spPr>
            <a:xfrm>
              <a:off x="10886521" y="3584416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C7972C2-9BAB-4A4B-85ED-9C14DD451F11}"/>
                </a:ext>
              </a:extLst>
            </p:cNvPr>
            <p:cNvSpPr txBox="1"/>
            <p:nvPr/>
          </p:nvSpPr>
          <p:spPr>
            <a:xfrm>
              <a:off x="10886521" y="3955839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EDA214AD-3606-4B0E-9DFF-BF784A8F756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08CB2DCB-1A77-47E2-A95C-FB378C1F1F0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B2ECDA05-6603-4CD4-9D06-56E8560E188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26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FBC1EA5-1ABC-42A3-806A-79918E0A4B31}"/>
              </a:ext>
            </a:extLst>
          </p:cNvPr>
          <p:cNvGrpSpPr/>
          <p:nvPr userDrawn="1"/>
        </p:nvGrpSpPr>
        <p:grpSpPr>
          <a:xfrm>
            <a:off x="10515195" y="1121956"/>
            <a:ext cx="1492369" cy="1901951"/>
            <a:chOff x="7723680" y="1679039"/>
            <a:chExt cx="1492367" cy="190194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BED26724-6F6D-4884-BC55-A0FA6F733C02}"/>
                </a:ext>
              </a:extLst>
            </p:cNvPr>
            <p:cNvSpPr txBox="1"/>
            <p:nvPr/>
          </p:nvSpPr>
          <p:spPr>
            <a:xfrm>
              <a:off x="8076312" y="1679039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9CF0E76-D745-4476-A8C8-B5E67C8B2DC8}"/>
                </a:ext>
              </a:extLst>
            </p:cNvPr>
            <p:cNvSpPr txBox="1"/>
            <p:nvPr/>
          </p:nvSpPr>
          <p:spPr>
            <a:xfrm>
              <a:off x="8076312" y="2054499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F725B785-53C5-4BF1-9D8E-41F6E06154E2}"/>
                </a:ext>
              </a:extLst>
            </p:cNvPr>
            <p:cNvSpPr txBox="1"/>
            <p:nvPr/>
          </p:nvSpPr>
          <p:spPr>
            <a:xfrm>
              <a:off x="8076312" y="2429957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93746D32-DAF7-4B3D-8417-7BF8BBD6BE66}"/>
                </a:ext>
              </a:extLst>
            </p:cNvPr>
            <p:cNvSpPr txBox="1"/>
            <p:nvPr/>
          </p:nvSpPr>
          <p:spPr>
            <a:xfrm>
              <a:off x="8076312" y="2805417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F0C9B282-A4C8-4B55-BEB2-5ECB1120E874}"/>
                </a:ext>
              </a:extLst>
            </p:cNvPr>
            <p:cNvSpPr txBox="1"/>
            <p:nvPr/>
          </p:nvSpPr>
          <p:spPr>
            <a:xfrm>
              <a:off x="8076312" y="3180878"/>
              <a:ext cx="1139735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AF6162FD-88FF-455F-BE68-7C63DB59988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64AEF99-F7D9-410B-B82B-3A6D3CA048E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A20492D6-F147-4C8A-9E76-930731367E97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DC5C080-B9FB-4E28-995F-A209DA83199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AE09B862-4910-461D-BE95-31D2DD61DE6F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7D5CF14A-2F5E-4AF5-89EE-5576F037E85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33C793C-08E2-49A4-868D-E6B1310C24F4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C8B04B60-0714-4A72-BC8E-594B7C06F15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513D1BD-772B-44EF-8A6A-EFBE7E9BA57E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D5AD32D3-F0F5-4E8C-8C65-72B919844135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36885D2E-8FEB-4A6D-B30B-90BB76D1B1A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A7CBBF2-8FA8-4452-8C77-FE22E1BDFD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E20AC928-8F0C-4450-9DB2-E0CE7D35B3B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478806E8-9CD4-4A58-A3C2-30AF1561CF7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26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A6730CF1-12B6-416E-BCFC-2BE44C38CEAA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26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3DE6700D-F0D7-4E47-99E4-3475A0A5A270}"/>
              </a:ext>
            </a:extLst>
          </p:cNvPr>
          <p:cNvGrpSpPr/>
          <p:nvPr userDrawn="1"/>
        </p:nvGrpSpPr>
        <p:grpSpPr>
          <a:xfrm>
            <a:off x="10541700" y="4350726"/>
            <a:ext cx="1465882" cy="1901951"/>
            <a:chOff x="10652400" y="4292047"/>
            <a:chExt cx="1465880" cy="1901949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AE621BBB-C3CB-432E-8798-D5279AB72776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DEF8D17-C187-4086-A195-D25D9411B64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F6843165-D717-4E10-8DDB-76D2A3DA668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99236F2F-0A5A-464C-B131-43CFC07370B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8ED847EE-C8E8-4343-B459-6A2D03AF8699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26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CDDD670-8189-489C-AB82-D3F390CCD9BD}"/>
                </a:ext>
              </a:extLst>
            </p:cNvPr>
            <p:cNvSpPr txBox="1"/>
            <p:nvPr/>
          </p:nvSpPr>
          <p:spPr>
            <a:xfrm>
              <a:off x="10978545" y="4292047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25733B7F-6A34-451E-BD6B-51A5F24A79AE}"/>
                </a:ext>
              </a:extLst>
            </p:cNvPr>
            <p:cNvSpPr txBox="1"/>
            <p:nvPr/>
          </p:nvSpPr>
          <p:spPr>
            <a:xfrm>
              <a:off x="10978546" y="4671547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DA7969CB-6D39-4988-8E27-6CC5A0174439}"/>
                </a:ext>
              </a:extLst>
            </p:cNvPr>
            <p:cNvSpPr txBox="1"/>
            <p:nvPr/>
          </p:nvSpPr>
          <p:spPr>
            <a:xfrm>
              <a:off x="10978546" y="5051044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68D0A0D3-590C-47DA-B8F7-82CAADB7741A}"/>
                </a:ext>
              </a:extLst>
            </p:cNvPr>
            <p:cNvSpPr txBox="1"/>
            <p:nvPr/>
          </p:nvSpPr>
          <p:spPr>
            <a:xfrm>
              <a:off x="10978546" y="5422465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27502893-C512-490D-B352-F9326A3DD96E}"/>
                </a:ext>
              </a:extLst>
            </p:cNvPr>
            <p:cNvSpPr txBox="1"/>
            <p:nvPr/>
          </p:nvSpPr>
          <p:spPr>
            <a:xfrm>
              <a:off x="10978545" y="5793886"/>
              <a:ext cx="1139734" cy="400110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2600"/>
                <a:t>Legend</a:t>
              </a:r>
            </a:p>
          </p:txBody>
        </p:sp>
      </p:grpSp>
      <p:sp>
        <p:nvSpPr>
          <p:cNvPr id="158" name="TextBox 157">
            <a:extLst>
              <a:ext uri="{FF2B5EF4-FFF2-40B4-BE49-F238E27FC236}">
                <a16:creationId xmlns:a16="http://schemas.microsoft.com/office/drawing/2014/main" id="{7B773323-A7AC-448B-9ED6-C4C107F95CBD}"/>
              </a:ext>
            </a:extLst>
          </p:cNvPr>
          <p:cNvSpPr txBox="1"/>
          <p:nvPr userDrawn="1"/>
        </p:nvSpPr>
        <p:spPr>
          <a:xfrm>
            <a:off x="9135840" y="6498757"/>
            <a:ext cx="2232984" cy="12311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© Hitachi Europe Ltd. 2021. All rights reserved.</a:t>
            </a:r>
          </a:p>
        </p:txBody>
      </p:sp>
      <p:sp>
        <p:nvSpPr>
          <p:cNvPr id="154" name="Freeform 23">
            <a:extLst>
              <a:ext uri="{FF2B5EF4-FFF2-40B4-BE49-F238E27FC236}">
                <a16:creationId xmlns:a16="http://schemas.microsoft.com/office/drawing/2014/main" id="{E7915E18-178E-411B-8ABE-39B9A35A96B4}"/>
              </a:ext>
            </a:extLst>
          </p:cNvPr>
          <p:cNvSpPr>
            <a:spLocks noChangeArrowheads="1"/>
          </p:cNvSpPr>
          <p:nvPr userDrawn="1"/>
        </p:nvSpPr>
        <p:spPr bwMode="ltGray">
          <a:xfrm>
            <a:off x="527458" y="2"/>
            <a:ext cx="590145" cy="372159"/>
          </a:xfrm>
          <a:custGeom>
            <a:avLst/>
            <a:gdLst>
              <a:gd name="T0" fmla="*/ 224 w 490"/>
              <a:gd name="T1" fmla="*/ 307 h 308"/>
              <a:gd name="T2" fmla="*/ 0 w 490"/>
              <a:gd name="T3" fmla="*/ 307 h 308"/>
              <a:gd name="T4" fmla="*/ 269 w 490"/>
              <a:gd name="T5" fmla="*/ 0 h 308"/>
              <a:gd name="T6" fmla="*/ 489 w 490"/>
              <a:gd name="T7" fmla="*/ 0 h 308"/>
              <a:gd name="T8" fmla="*/ 224 w 490"/>
              <a:gd name="T9" fmla="*/ 307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90" h="308">
                <a:moveTo>
                  <a:pt x="224" y="307"/>
                </a:moveTo>
                <a:lnTo>
                  <a:pt x="0" y="307"/>
                </a:lnTo>
                <a:lnTo>
                  <a:pt x="269" y="0"/>
                </a:lnTo>
                <a:lnTo>
                  <a:pt x="489" y="0"/>
                </a:lnTo>
                <a:lnTo>
                  <a:pt x="224" y="307"/>
                </a:lnTo>
              </a:path>
            </a:pathLst>
          </a:custGeom>
          <a:solidFill>
            <a:srgbClr val="CC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marL="0" marR="0" lvl="0" indent="0" defTabSz="93291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32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eiryo UI"/>
              <a:cs typeface="Arial" panose="020B0604020202020204" pitchFamily="34" charset="0"/>
            </a:endParaRP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016342D3-BB39-4A40-ABEC-782F1F7DBE0A}"/>
              </a:ext>
            </a:extLst>
          </p:cNvPr>
          <p:cNvGrpSpPr/>
          <p:nvPr userDrawn="1"/>
        </p:nvGrpSpPr>
        <p:grpSpPr>
          <a:xfrm>
            <a:off x="10589172" y="193146"/>
            <a:ext cx="1195200" cy="342857"/>
            <a:chOff x="10442064" y="193144"/>
            <a:chExt cx="1195200" cy="342857"/>
          </a:xfrm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C6F2E09C-1DA6-4504-B67F-725F3274855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20521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2147483647 w 781"/>
                <a:gd name="T47" fmla="*/ 2147483647 h 734"/>
                <a:gd name="T48" fmla="*/ 2147483647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4" y="0"/>
                  </a:moveTo>
                  <a:lnTo>
                    <a:pt x="194" y="0"/>
                  </a:lnTo>
                  <a:lnTo>
                    <a:pt x="194" y="293"/>
                  </a:lnTo>
                  <a:lnTo>
                    <a:pt x="586" y="293"/>
                  </a:lnTo>
                  <a:lnTo>
                    <a:pt x="586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6" y="734"/>
                  </a:lnTo>
                  <a:lnTo>
                    <a:pt x="586" y="411"/>
                  </a:lnTo>
                  <a:lnTo>
                    <a:pt x="526" y="411"/>
                  </a:lnTo>
                  <a:lnTo>
                    <a:pt x="390" y="411"/>
                  </a:lnTo>
                  <a:lnTo>
                    <a:pt x="194" y="411"/>
                  </a:lnTo>
                  <a:lnTo>
                    <a:pt x="194" y="734"/>
                  </a:lnTo>
                  <a:lnTo>
                    <a:pt x="0" y="734"/>
                  </a:lnTo>
                  <a:lnTo>
                    <a:pt x="1" y="367"/>
                  </a:lnTo>
                  <a:lnTo>
                    <a:pt x="1" y="115"/>
                  </a:lnTo>
                  <a:lnTo>
                    <a:pt x="0" y="0"/>
                  </a:lnTo>
                  <a:lnTo>
                    <a:pt x="194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0" name="Freeform 7">
              <a:extLst>
                <a:ext uri="{FF2B5EF4-FFF2-40B4-BE49-F238E27FC236}">
                  <a16:creationId xmlns:a16="http://schemas.microsoft.com/office/drawing/2014/main" id="{6F9D22D9-5663-46C8-98DC-7D661DABD5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82729" y="197920"/>
              <a:ext cx="174160" cy="161400"/>
            </a:xfrm>
            <a:custGeom>
              <a:avLst/>
              <a:gdLst>
                <a:gd name="T0" fmla="*/ 2147483647 w 788"/>
                <a:gd name="T1" fmla="*/ 0 h 734"/>
                <a:gd name="T2" fmla="*/ 2147483647 w 788"/>
                <a:gd name="T3" fmla="*/ 0 h 734"/>
                <a:gd name="T4" fmla="*/ 2147483647 w 788"/>
                <a:gd name="T5" fmla="*/ 2147483647 h 734"/>
                <a:gd name="T6" fmla="*/ 2147483647 w 788"/>
                <a:gd name="T7" fmla="*/ 2147483647 h 734"/>
                <a:gd name="T8" fmla="*/ 2147483647 w 788"/>
                <a:gd name="T9" fmla="*/ 2147483647 h 734"/>
                <a:gd name="T10" fmla="*/ 2147483647 w 788"/>
                <a:gd name="T11" fmla="*/ 2147483647 h 734"/>
                <a:gd name="T12" fmla="*/ 2147483647 w 788"/>
                <a:gd name="T13" fmla="*/ 2147483647 h 734"/>
                <a:gd name="T14" fmla="*/ 0 w 788"/>
                <a:gd name="T15" fmla="*/ 2147483647 h 734"/>
                <a:gd name="T16" fmla="*/ 0 w 788"/>
                <a:gd name="T17" fmla="*/ 2147483647 h 734"/>
                <a:gd name="T18" fmla="*/ 0 w 788"/>
                <a:gd name="T19" fmla="*/ 0 h 734"/>
                <a:gd name="T20" fmla="*/ 0 w 788"/>
                <a:gd name="T21" fmla="*/ 0 h 734"/>
                <a:gd name="T22" fmla="*/ 2147483647 w 788"/>
                <a:gd name="T23" fmla="*/ 0 h 73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788"/>
                <a:gd name="T37" fmla="*/ 0 h 734"/>
                <a:gd name="T38" fmla="*/ 788 w 788"/>
                <a:gd name="T39" fmla="*/ 734 h 73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788" h="734">
                  <a:moveTo>
                    <a:pt x="788" y="0"/>
                  </a:moveTo>
                  <a:lnTo>
                    <a:pt x="788" y="0"/>
                  </a:lnTo>
                  <a:lnTo>
                    <a:pt x="788" y="124"/>
                  </a:lnTo>
                  <a:lnTo>
                    <a:pt x="491" y="124"/>
                  </a:lnTo>
                  <a:lnTo>
                    <a:pt x="491" y="734"/>
                  </a:lnTo>
                  <a:lnTo>
                    <a:pt x="297" y="734"/>
                  </a:lnTo>
                  <a:lnTo>
                    <a:pt x="297" y="124"/>
                  </a:lnTo>
                  <a:lnTo>
                    <a:pt x="0" y="124"/>
                  </a:lnTo>
                  <a:lnTo>
                    <a:pt x="0" y="0"/>
                  </a:lnTo>
                  <a:lnTo>
                    <a:pt x="788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1" name="Freeform 9">
              <a:extLst>
                <a:ext uri="{FF2B5EF4-FFF2-40B4-BE49-F238E27FC236}">
                  <a16:creationId xmlns:a16="http://schemas.microsoft.com/office/drawing/2014/main" id="{9BB0CDA0-ABA2-4015-AACF-1EF3DED5CE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919570" y="197920"/>
              <a:ext cx="203824" cy="161400"/>
            </a:xfrm>
            <a:custGeom>
              <a:avLst/>
              <a:gdLst>
                <a:gd name="T0" fmla="*/ 2147483647 w 924"/>
                <a:gd name="T1" fmla="*/ 2147483647 h 734"/>
                <a:gd name="T2" fmla="*/ 2147483647 w 924"/>
                <a:gd name="T3" fmla="*/ 2147483647 h 734"/>
                <a:gd name="T4" fmla="*/ 2147483647 w 924"/>
                <a:gd name="T5" fmla="*/ 2147483647 h 734"/>
                <a:gd name="T6" fmla="*/ 2147483647 w 924"/>
                <a:gd name="T7" fmla="*/ 2147483647 h 734"/>
                <a:gd name="T8" fmla="*/ 2147483647 w 924"/>
                <a:gd name="T9" fmla="*/ 2147483647 h 734"/>
                <a:gd name="T10" fmla="*/ 2147483647 w 924"/>
                <a:gd name="T11" fmla="*/ 2147483647 h 734"/>
                <a:gd name="T12" fmla="*/ 2147483647 w 924"/>
                <a:gd name="T13" fmla="*/ 2147483647 h 734"/>
                <a:gd name="T14" fmla="*/ 2147483647 w 924"/>
                <a:gd name="T15" fmla="*/ 2147483647 h 734"/>
                <a:gd name="T16" fmla="*/ 2147483647 w 924"/>
                <a:gd name="T17" fmla="*/ 2147483647 h 734"/>
                <a:gd name="T18" fmla="*/ 2147483647 w 924"/>
                <a:gd name="T19" fmla="*/ 2147483647 h 734"/>
                <a:gd name="T20" fmla="*/ 2147483647 w 924"/>
                <a:gd name="T21" fmla="*/ 2147483647 h 734"/>
                <a:gd name="T22" fmla="*/ 2147483647 w 924"/>
                <a:gd name="T23" fmla="*/ 2147483647 h 734"/>
                <a:gd name="T24" fmla="*/ 2147483647 w 924"/>
                <a:gd name="T25" fmla="*/ 2147483647 h 734"/>
                <a:gd name="T26" fmla="*/ 2147483647 w 924"/>
                <a:gd name="T27" fmla="*/ 2147483647 h 734"/>
                <a:gd name="T28" fmla="*/ 2147483647 w 924"/>
                <a:gd name="T29" fmla="*/ 2147483647 h 734"/>
                <a:gd name="T30" fmla="*/ 0 w 924"/>
                <a:gd name="T31" fmla="*/ 2147483647 h 734"/>
                <a:gd name="T32" fmla="*/ 2147483647 w 924"/>
                <a:gd name="T33" fmla="*/ 0 h 734"/>
                <a:gd name="T34" fmla="*/ 2147483647 w 924"/>
                <a:gd name="T35" fmla="*/ 0 h 734"/>
                <a:gd name="T36" fmla="*/ 2147483647 w 924"/>
                <a:gd name="T37" fmla="*/ 0 h 734"/>
                <a:gd name="T38" fmla="*/ 2147483647 w 924"/>
                <a:gd name="T39" fmla="*/ 0 h 734"/>
                <a:gd name="T40" fmla="*/ 2147483647 w 924"/>
                <a:gd name="T41" fmla="*/ 2147483647 h 734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924"/>
                <a:gd name="T64" fmla="*/ 0 h 734"/>
                <a:gd name="T65" fmla="*/ 924 w 924"/>
                <a:gd name="T66" fmla="*/ 734 h 734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924" h="734">
                  <a:moveTo>
                    <a:pt x="463" y="124"/>
                  </a:moveTo>
                  <a:lnTo>
                    <a:pt x="327" y="459"/>
                  </a:lnTo>
                  <a:lnTo>
                    <a:pt x="597" y="459"/>
                  </a:lnTo>
                  <a:lnTo>
                    <a:pt x="463" y="124"/>
                  </a:lnTo>
                  <a:close/>
                  <a:moveTo>
                    <a:pt x="924" y="734"/>
                  </a:moveTo>
                  <a:lnTo>
                    <a:pt x="924" y="734"/>
                  </a:lnTo>
                  <a:lnTo>
                    <a:pt x="708" y="734"/>
                  </a:lnTo>
                  <a:lnTo>
                    <a:pt x="644" y="576"/>
                  </a:lnTo>
                  <a:lnTo>
                    <a:pt x="280" y="576"/>
                  </a:lnTo>
                  <a:lnTo>
                    <a:pt x="249" y="655"/>
                  </a:lnTo>
                  <a:lnTo>
                    <a:pt x="228" y="709"/>
                  </a:lnTo>
                  <a:lnTo>
                    <a:pt x="217" y="734"/>
                  </a:lnTo>
                  <a:lnTo>
                    <a:pt x="0" y="734"/>
                  </a:lnTo>
                  <a:lnTo>
                    <a:pt x="343" y="0"/>
                  </a:lnTo>
                  <a:lnTo>
                    <a:pt x="463" y="0"/>
                  </a:lnTo>
                  <a:lnTo>
                    <a:pt x="581" y="0"/>
                  </a:lnTo>
                  <a:lnTo>
                    <a:pt x="924" y="73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5F5B5677-C4F7-4976-AA89-6D12BD2519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26260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3" name="Freeform 25">
              <a:extLst>
                <a:ext uri="{FF2B5EF4-FFF2-40B4-BE49-F238E27FC236}">
                  <a16:creationId xmlns:a16="http://schemas.microsoft.com/office/drawing/2014/main" id="{789BB306-E333-4247-936C-0C3B258E5F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8618" y="197920"/>
              <a:ext cx="172247" cy="161400"/>
            </a:xfrm>
            <a:custGeom>
              <a:avLst/>
              <a:gdLst>
                <a:gd name="T0" fmla="*/ 2147483647 w 781"/>
                <a:gd name="T1" fmla="*/ 0 h 734"/>
                <a:gd name="T2" fmla="*/ 2147483647 w 781"/>
                <a:gd name="T3" fmla="*/ 0 h 734"/>
                <a:gd name="T4" fmla="*/ 2147483647 w 781"/>
                <a:gd name="T5" fmla="*/ 2147483647 h 734"/>
                <a:gd name="T6" fmla="*/ 2147483647 w 781"/>
                <a:gd name="T7" fmla="*/ 2147483647 h 734"/>
                <a:gd name="T8" fmla="*/ 2147483647 w 781"/>
                <a:gd name="T9" fmla="*/ 2147483647 h 734"/>
                <a:gd name="T10" fmla="*/ 2147483647 w 781"/>
                <a:gd name="T11" fmla="*/ 0 h 734"/>
                <a:gd name="T12" fmla="*/ 2147483647 w 781"/>
                <a:gd name="T13" fmla="*/ 0 h 734"/>
                <a:gd name="T14" fmla="*/ 2147483647 w 781"/>
                <a:gd name="T15" fmla="*/ 0 h 734"/>
                <a:gd name="T16" fmla="*/ 2147483647 w 781"/>
                <a:gd name="T17" fmla="*/ 0 h 734"/>
                <a:gd name="T18" fmla="*/ 2147483647 w 781"/>
                <a:gd name="T19" fmla="*/ 2147483647 h 734"/>
                <a:gd name="T20" fmla="*/ 2147483647 w 781"/>
                <a:gd name="T21" fmla="*/ 2147483647 h 734"/>
                <a:gd name="T22" fmla="*/ 2147483647 w 781"/>
                <a:gd name="T23" fmla="*/ 2147483647 h 734"/>
                <a:gd name="T24" fmla="*/ 2147483647 w 781"/>
                <a:gd name="T25" fmla="*/ 2147483647 h 734"/>
                <a:gd name="T26" fmla="*/ 2147483647 w 781"/>
                <a:gd name="T27" fmla="*/ 2147483647 h 734"/>
                <a:gd name="T28" fmla="*/ 2147483647 w 781"/>
                <a:gd name="T29" fmla="*/ 2147483647 h 734"/>
                <a:gd name="T30" fmla="*/ 2147483647 w 781"/>
                <a:gd name="T31" fmla="*/ 2147483647 h 734"/>
                <a:gd name="T32" fmla="*/ 2147483647 w 781"/>
                <a:gd name="T33" fmla="*/ 2147483647 h 734"/>
                <a:gd name="T34" fmla="*/ 2147483647 w 781"/>
                <a:gd name="T35" fmla="*/ 2147483647 h 734"/>
                <a:gd name="T36" fmla="*/ 2147483647 w 781"/>
                <a:gd name="T37" fmla="*/ 2147483647 h 734"/>
                <a:gd name="T38" fmla="*/ 2147483647 w 781"/>
                <a:gd name="T39" fmla="*/ 2147483647 h 734"/>
                <a:gd name="T40" fmla="*/ 2147483647 w 781"/>
                <a:gd name="T41" fmla="*/ 2147483647 h 734"/>
                <a:gd name="T42" fmla="*/ 0 w 781"/>
                <a:gd name="T43" fmla="*/ 2147483647 h 734"/>
                <a:gd name="T44" fmla="*/ 0 w 781"/>
                <a:gd name="T45" fmla="*/ 2147483647 h 734"/>
                <a:gd name="T46" fmla="*/ 0 w 781"/>
                <a:gd name="T47" fmla="*/ 2147483647 h 734"/>
                <a:gd name="T48" fmla="*/ 0 w 781"/>
                <a:gd name="T49" fmla="*/ 2147483647 h 734"/>
                <a:gd name="T50" fmla="*/ 0 w 781"/>
                <a:gd name="T51" fmla="*/ 0 h 734"/>
                <a:gd name="T52" fmla="*/ 2147483647 w 781"/>
                <a:gd name="T53" fmla="*/ 0 h 7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781"/>
                <a:gd name="T82" fmla="*/ 0 h 734"/>
                <a:gd name="T83" fmla="*/ 781 w 781"/>
                <a:gd name="T84" fmla="*/ 734 h 7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781" h="734">
                  <a:moveTo>
                    <a:pt x="195" y="0"/>
                  </a:moveTo>
                  <a:lnTo>
                    <a:pt x="195" y="0"/>
                  </a:lnTo>
                  <a:lnTo>
                    <a:pt x="195" y="293"/>
                  </a:lnTo>
                  <a:lnTo>
                    <a:pt x="587" y="293"/>
                  </a:lnTo>
                  <a:lnTo>
                    <a:pt x="587" y="0"/>
                  </a:lnTo>
                  <a:lnTo>
                    <a:pt x="781" y="0"/>
                  </a:lnTo>
                  <a:lnTo>
                    <a:pt x="781" y="367"/>
                  </a:lnTo>
                  <a:lnTo>
                    <a:pt x="781" y="734"/>
                  </a:lnTo>
                  <a:lnTo>
                    <a:pt x="587" y="734"/>
                  </a:lnTo>
                  <a:lnTo>
                    <a:pt x="587" y="411"/>
                  </a:lnTo>
                  <a:lnTo>
                    <a:pt x="525" y="411"/>
                  </a:lnTo>
                  <a:lnTo>
                    <a:pt x="390" y="411"/>
                  </a:lnTo>
                  <a:lnTo>
                    <a:pt x="195" y="411"/>
                  </a:lnTo>
                  <a:lnTo>
                    <a:pt x="195" y="734"/>
                  </a:lnTo>
                  <a:lnTo>
                    <a:pt x="0" y="734"/>
                  </a:lnTo>
                  <a:lnTo>
                    <a:pt x="0" y="367"/>
                  </a:lnTo>
                  <a:lnTo>
                    <a:pt x="0" y="115"/>
                  </a:lnTo>
                  <a:lnTo>
                    <a:pt x="0" y="0"/>
                  </a:lnTo>
                  <a:lnTo>
                    <a:pt x="195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65F81856-94C5-4387-AD0C-C670CA88B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24357" y="197920"/>
              <a:ext cx="43061" cy="161400"/>
            </a:xfrm>
            <a:prstGeom prst="rect">
              <a:avLst/>
            </a:pr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6" name="Freeform 27">
              <a:extLst>
                <a:ext uri="{FF2B5EF4-FFF2-40B4-BE49-F238E27FC236}">
                  <a16:creationId xmlns:a16="http://schemas.microsoft.com/office/drawing/2014/main" id="{BB3A0DB3-B361-4E91-8A95-F2D22780F0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15739" y="193144"/>
              <a:ext cx="182773" cy="169995"/>
            </a:xfrm>
            <a:custGeom>
              <a:avLst/>
              <a:gdLst>
                <a:gd name="T0" fmla="*/ 2147483647 w 828"/>
                <a:gd name="T1" fmla="*/ 2147483647 h 771"/>
                <a:gd name="T2" fmla="*/ 2147483647 w 828"/>
                <a:gd name="T3" fmla="*/ 2147483647 h 771"/>
                <a:gd name="T4" fmla="*/ 2147483647 w 828"/>
                <a:gd name="T5" fmla="*/ 2147483647 h 771"/>
                <a:gd name="T6" fmla="*/ 2147483647 w 828"/>
                <a:gd name="T7" fmla="*/ 2147483647 h 771"/>
                <a:gd name="T8" fmla="*/ 2147483647 w 828"/>
                <a:gd name="T9" fmla="*/ 2147483647 h 771"/>
                <a:gd name="T10" fmla="*/ 2147483647 w 828"/>
                <a:gd name="T11" fmla="*/ 2147483647 h 771"/>
                <a:gd name="T12" fmla="*/ 2147483647 w 828"/>
                <a:gd name="T13" fmla="*/ 2147483647 h 771"/>
                <a:gd name="T14" fmla="*/ 2147483647 w 828"/>
                <a:gd name="T15" fmla="*/ 2147483647 h 771"/>
                <a:gd name="T16" fmla="*/ 2147483647 w 828"/>
                <a:gd name="T17" fmla="*/ 2147483647 h 771"/>
                <a:gd name="T18" fmla="*/ 2147483647 w 828"/>
                <a:gd name="T19" fmla="*/ 2147483647 h 771"/>
                <a:gd name="T20" fmla="*/ 2147483647 w 828"/>
                <a:gd name="T21" fmla="*/ 2147483647 h 771"/>
                <a:gd name="T22" fmla="*/ 2147483647 w 828"/>
                <a:gd name="T23" fmla="*/ 2147483647 h 771"/>
                <a:gd name="T24" fmla="*/ 2147483647 w 828"/>
                <a:gd name="T25" fmla="*/ 2147483647 h 771"/>
                <a:gd name="T26" fmla="*/ 2147483647 w 828"/>
                <a:gd name="T27" fmla="*/ 2147483647 h 771"/>
                <a:gd name="T28" fmla="*/ 2147483647 w 828"/>
                <a:gd name="T29" fmla="*/ 2147483647 h 771"/>
                <a:gd name="T30" fmla="*/ 2147483647 w 828"/>
                <a:gd name="T31" fmla="*/ 2147483647 h 771"/>
                <a:gd name="T32" fmla="*/ 2147483647 w 828"/>
                <a:gd name="T33" fmla="*/ 2147483647 h 771"/>
                <a:gd name="T34" fmla="*/ 2147483647 w 828"/>
                <a:gd name="T35" fmla="*/ 2147483647 h 771"/>
                <a:gd name="T36" fmla="*/ 2147483647 w 828"/>
                <a:gd name="T37" fmla="*/ 2147483647 h 771"/>
                <a:gd name="T38" fmla="*/ 2147483647 w 828"/>
                <a:gd name="T39" fmla="*/ 2147483647 h 771"/>
                <a:gd name="T40" fmla="*/ 2147483647 w 828"/>
                <a:gd name="T41" fmla="*/ 2147483647 h 771"/>
                <a:gd name="T42" fmla="*/ 2147483647 w 828"/>
                <a:gd name="T43" fmla="*/ 2147483647 h 771"/>
                <a:gd name="T44" fmla="*/ 2147483647 w 828"/>
                <a:gd name="T45" fmla="*/ 2147483647 h 771"/>
                <a:gd name="T46" fmla="*/ 2147483647 w 828"/>
                <a:gd name="T47" fmla="*/ 2147483647 h 771"/>
                <a:gd name="T48" fmla="*/ 2147483647 w 828"/>
                <a:gd name="T49" fmla="*/ 2147483647 h 771"/>
                <a:gd name="T50" fmla="*/ 2147483647 w 828"/>
                <a:gd name="T51" fmla="*/ 2147483647 h 771"/>
                <a:gd name="T52" fmla="*/ 2147483647 w 828"/>
                <a:gd name="T53" fmla="*/ 2147483647 h 771"/>
                <a:gd name="T54" fmla="*/ 2147483647 w 828"/>
                <a:gd name="T55" fmla="*/ 2147483647 h 771"/>
                <a:gd name="T56" fmla="*/ 2147483647 w 828"/>
                <a:gd name="T57" fmla="*/ 2147483647 h 771"/>
                <a:gd name="T58" fmla="*/ 2147483647 w 828"/>
                <a:gd name="T59" fmla="*/ 2147483647 h 771"/>
                <a:gd name="T60" fmla="*/ 2147483647 w 828"/>
                <a:gd name="T61" fmla="*/ 2147483647 h 771"/>
                <a:gd name="T62" fmla="*/ 2147483647 w 828"/>
                <a:gd name="T63" fmla="*/ 2147483647 h 771"/>
                <a:gd name="T64" fmla="*/ 2147483647 w 828"/>
                <a:gd name="T65" fmla="*/ 2147483647 h 771"/>
                <a:gd name="T66" fmla="*/ 2147483647 w 828"/>
                <a:gd name="T67" fmla="*/ 2147483647 h 771"/>
                <a:gd name="T68" fmla="*/ 2147483647 w 828"/>
                <a:gd name="T69" fmla="*/ 2147483647 h 771"/>
                <a:gd name="T70" fmla="*/ 2147483647 w 828"/>
                <a:gd name="T71" fmla="*/ 2147483647 h 771"/>
                <a:gd name="T72" fmla="*/ 2147483647 w 828"/>
                <a:gd name="T73" fmla="*/ 2147483647 h 771"/>
                <a:gd name="T74" fmla="*/ 2147483647 w 828"/>
                <a:gd name="T75" fmla="*/ 2147483647 h 771"/>
                <a:gd name="T76" fmla="*/ 2147483647 w 828"/>
                <a:gd name="T77" fmla="*/ 2147483647 h 771"/>
                <a:gd name="T78" fmla="*/ 2147483647 w 828"/>
                <a:gd name="T79" fmla="*/ 2147483647 h 771"/>
                <a:gd name="T80" fmla="*/ 2147483647 w 828"/>
                <a:gd name="T81" fmla="*/ 2147483647 h 771"/>
                <a:gd name="T82" fmla="*/ 2147483647 w 828"/>
                <a:gd name="T83" fmla="*/ 2147483647 h 771"/>
                <a:gd name="T84" fmla="*/ 2147483647 w 828"/>
                <a:gd name="T85" fmla="*/ 2147483647 h 771"/>
                <a:gd name="T86" fmla="*/ 2147483647 w 828"/>
                <a:gd name="T87" fmla="*/ 2147483647 h 771"/>
                <a:gd name="T88" fmla="*/ 2147483647 w 828"/>
                <a:gd name="T89" fmla="*/ 2147483647 h 771"/>
                <a:gd name="T90" fmla="*/ 2147483647 w 828"/>
                <a:gd name="T91" fmla="*/ 2147483647 h 771"/>
                <a:gd name="T92" fmla="*/ 2147483647 w 828"/>
                <a:gd name="T93" fmla="*/ 2147483647 h 771"/>
                <a:gd name="T94" fmla="*/ 2147483647 w 828"/>
                <a:gd name="T95" fmla="*/ 2147483647 h 771"/>
                <a:gd name="T96" fmla="*/ 2147483647 w 828"/>
                <a:gd name="T97" fmla="*/ 2147483647 h 771"/>
                <a:gd name="T98" fmla="*/ 2147483647 w 828"/>
                <a:gd name="T99" fmla="*/ 2147483647 h 771"/>
                <a:gd name="T100" fmla="*/ 2147483647 w 828"/>
                <a:gd name="T101" fmla="*/ 2147483647 h 77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828"/>
                <a:gd name="T154" fmla="*/ 0 h 771"/>
                <a:gd name="T155" fmla="*/ 828 w 828"/>
                <a:gd name="T156" fmla="*/ 771 h 77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828" h="771">
                  <a:moveTo>
                    <a:pt x="27" y="550"/>
                  </a:moveTo>
                  <a:lnTo>
                    <a:pt x="27" y="550"/>
                  </a:lnTo>
                  <a:lnTo>
                    <a:pt x="21" y="530"/>
                  </a:lnTo>
                  <a:lnTo>
                    <a:pt x="15" y="512"/>
                  </a:lnTo>
                  <a:lnTo>
                    <a:pt x="11" y="493"/>
                  </a:lnTo>
                  <a:lnTo>
                    <a:pt x="7" y="474"/>
                  </a:lnTo>
                  <a:lnTo>
                    <a:pt x="5" y="453"/>
                  </a:lnTo>
                  <a:lnTo>
                    <a:pt x="2" y="434"/>
                  </a:lnTo>
                  <a:lnTo>
                    <a:pt x="1" y="414"/>
                  </a:lnTo>
                  <a:lnTo>
                    <a:pt x="0" y="394"/>
                  </a:lnTo>
                  <a:lnTo>
                    <a:pt x="1" y="365"/>
                  </a:lnTo>
                  <a:lnTo>
                    <a:pt x="3" y="336"/>
                  </a:lnTo>
                  <a:lnTo>
                    <a:pt x="7" y="308"/>
                  </a:lnTo>
                  <a:lnTo>
                    <a:pt x="12" y="280"/>
                  </a:lnTo>
                  <a:lnTo>
                    <a:pt x="18" y="253"/>
                  </a:lnTo>
                  <a:lnTo>
                    <a:pt x="27" y="228"/>
                  </a:lnTo>
                  <a:lnTo>
                    <a:pt x="38" y="203"/>
                  </a:lnTo>
                  <a:lnTo>
                    <a:pt x="50" y="180"/>
                  </a:lnTo>
                  <a:lnTo>
                    <a:pt x="66" y="156"/>
                  </a:lnTo>
                  <a:lnTo>
                    <a:pt x="84" y="135"/>
                  </a:lnTo>
                  <a:lnTo>
                    <a:pt x="102" y="114"/>
                  </a:lnTo>
                  <a:lnTo>
                    <a:pt x="122" y="95"/>
                  </a:lnTo>
                  <a:lnTo>
                    <a:pt x="143" y="78"/>
                  </a:lnTo>
                  <a:lnTo>
                    <a:pt x="167" y="63"/>
                  </a:lnTo>
                  <a:lnTo>
                    <a:pt x="192" y="50"/>
                  </a:lnTo>
                  <a:lnTo>
                    <a:pt x="217" y="40"/>
                  </a:lnTo>
                  <a:lnTo>
                    <a:pt x="243" y="31"/>
                  </a:lnTo>
                  <a:lnTo>
                    <a:pt x="268" y="22"/>
                  </a:lnTo>
                  <a:lnTo>
                    <a:pt x="295" y="16"/>
                  </a:lnTo>
                  <a:lnTo>
                    <a:pt x="322" y="11"/>
                  </a:lnTo>
                  <a:lnTo>
                    <a:pt x="350" y="6"/>
                  </a:lnTo>
                  <a:lnTo>
                    <a:pt x="376" y="3"/>
                  </a:lnTo>
                  <a:lnTo>
                    <a:pt x="405" y="1"/>
                  </a:lnTo>
                  <a:lnTo>
                    <a:pt x="433" y="0"/>
                  </a:lnTo>
                  <a:lnTo>
                    <a:pt x="465" y="1"/>
                  </a:lnTo>
                  <a:lnTo>
                    <a:pt x="497" y="4"/>
                  </a:lnTo>
                  <a:lnTo>
                    <a:pt x="529" y="9"/>
                  </a:lnTo>
                  <a:lnTo>
                    <a:pt x="560" y="14"/>
                  </a:lnTo>
                  <a:lnTo>
                    <a:pt x="590" y="21"/>
                  </a:lnTo>
                  <a:lnTo>
                    <a:pt x="620" y="30"/>
                  </a:lnTo>
                  <a:lnTo>
                    <a:pt x="650" y="41"/>
                  </a:lnTo>
                  <a:lnTo>
                    <a:pt x="678" y="52"/>
                  </a:lnTo>
                  <a:lnTo>
                    <a:pt x="691" y="59"/>
                  </a:lnTo>
                  <a:lnTo>
                    <a:pt x="703" y="65"/>
                  </a:lnTo>
                  <a:lnTo>
                    <a:pt x="715" y="73"/>
                  </a:lnTo>
                  <a:lnTo>
                    <a:pt x="727" y="81"/>
                  </a:lnTo>
                  <a:lnTo>
                    <a:pt x="739" y="90"/>
                  </a:lnTo>
                  <a:lnTo>
                    <a:pt x="748" y="99"/>
                  </a:lnTo>
                  <a:lnTo>
                    <a:pt x="759" y="109"/>
                  </a:lnTo>
                  <a:lnTo>
                    <a:pt x="767" y="120"/>
                  </a:lnTo>
                  <a:lnTo>
                    <a:pt x="776" y="130"/>
                  </a:lnTo>
                  <a:lnTo>
                    <a:pt x="785" y="142"/>
                  </a:lnTo>
                  <a:lnTo>
                    <a:pt x="792" y="155"/>
                  </a:lnTo>
                  <a:lnTo>
                    <a:pt x="798" y="168"/>
                  </a:lnTo>
                  <a:lnTo>
                    <a:pt x="804" y="181"/>
                  </a:lnTo>
                  <a:lnTo>
                    <a:pt x="809" y="194"/>
                  </a:lnTo>
                  <a:lnTo>
                    <a:pt x="813" y="207"/>
                  </a:lnTo>
                  <a:lnTo>
                    <a:pt x="817" y="221"/>
                  </a:lnTo>
                  <a:lnTo>
                    <a:pt x="821" y="245"/>
                  </a:lnTo>
                  <a:lnTo>
                    <a:pt x="824" y="268"/>
                  </a:lnTo>
                  <a:lnTo>
                    <a:pt x="620" y="268"/>
                  </a:lnTo>
                  <a:lnTo>
                    <a:pt x="619" y="253"/>
                  </a:lnTo>
                  <a:lnTo>
                    <a:pt x="617" y="240"/>
                  </a:lnTo>
                  <a:lnTo>
                    <a:pt x="614" y="226"/>
                  </a:lnTo>
                  <a:lnTo>
                    <a:pt x="609" y="212"/>
                  </a:lnTo>
                  <a:lnTo>
                    <a:pt x="603" y="197"/>
                  </a:lnTo>
                  <a:lnTo>
                    <a:pt x="594" y="183"/>
                  </a:lnTo>
                  <a:lnTo>
                    <a:pt x="585" y="170"/>
                  </a:lnTo>
                  <a:lnTo>
                    <a:pt x="574" y="159"/>
                  </a:lnTo>
                  <a:lnTo>
                    <a:pt x="561" y="149"/>
                  </a:lnTo>
                  <a:lnTo>
                    <a:pt x="547" y="140"/>
                  </a:lnTo>
                  <a:lnTo>
                    <a:pt x="533" y="133"/>
                  </a:lnTo>
                  <a:lnTo>
                    <a:pt x="519" y="127"/>
                  </a:lnTo>
                  <a:lnTo>
                    <a:pt x="497" y="122"/>
                  </a:lnTo>
                  <a:lnTo>
                    <a:pt x="477" y="118"/>
                  </a:lnTo>
                  <a:lnTo>
                    <a:pt x="455" y="115"/>
                  </a:lnTo>
                  <a:lnTo>
                    <a:pt x="433" y="114"/>
                  </a:lnTo>
                  <a:lnTo>
                    <a:pt x="408" y="115"/>
                  </a:lnTo>
                  <a:lnTo>
                    <a:pt x="384" y="119"/>
                  </a:lnTo>
                  <a:lnTo>
                    <a:pt x="359" y="124"/>
                  </a:lnTo>
                  <a:lnTo>
                    <a:pt x="337" y="130"/>
                  </a:lnTo>
                  <a:lnTo>
                    <a:pt x="319" y="139"/>
                  </a:lnTo>
                  <a:lnTo>
                    <a:pt x="302" y="149"/>
                  </a:lnTo>
                  <a:lnTo>
                    <a:pt x="286" y="159"/>
                  </a:lnTo>
                  <a:lnTo>
                    <a:pt x="272" y="172"/>
                  </a:lnTo>
                  <a:lnTo>
                    <a:pt x="259" y="187"/>
                  </a:lnTo>
                  <a:lnTo>
                    <a:pt x="248" y="203"/>
                  </a:lnTo>
                  <a:lnTo>
                    <a:pt x="239" y="220"/>
                  </a:lnTo>
                  <a:lnTo>
                    <a:pt x="231" y="238"/>
                  </a:lnTo>
                  <a:lnTo>
                    <a:pt x="225" y="257"/>
                  </a:lnTo>
                  <a:lnTo>
                    <a:pt x="219" y="276"/>
                  </a:lnTo>
                  <a:lnTo>
                    <a:pt x="215" y="294"/>
                  </a:lnTo>
                  <a:lnTo>
                    <a:pt x="211" y="313"/>
                  </a:lnTo>
                  <a:lnTo>
                    <a:pt x="208" y="334"/>
                  </a:lnTo>
                  <a:lnTo>
                    <a:pt x="205" y="353"/>
                  </a:lnTo>
                  <a:lnTo>
                    <a:pt x="204" y="373"/>
                  </a:lnTo>
                  <a:lnTo>
                    <a:pt x="204" y="394"/>
                  </a:lnTo>
                  <a:lnTo>
                    <a:pt x="204" y="410"/>
                  </a:lnTo>
                  <a:lnTo>
                    <a:pt x="205" y="427"/>
                  </a:lnTo>
                  <a:lnTo>
                    <a:pt x="209" y="459"/>
                  </a:lnTo>
                  <a:lnTo>
                    <a:pt x="215" y="491"/>
                  </a:lnTo>
                  <a:lnTo>
                    <a:pt x="223" y="522"/>
                  </a:lnTo>
                  <a:lnTo>
                    <a:pt x="229" y="541"/>
                  </a:lnTo>
                  <a:lnTo>
                    <a:pt x="239" y="560"/>
                  </a:lnTo>
                  <a:lnTo>
                    <a:pt x="249" y="577"/>
                  </a:lnTo>
                  <a:lnTo>
                    <a:pt x="262" y="592"/>
                  </a:lnTo>
                  <a:lnTo>
                    <a:pt x="277" y="606"/>
                  </a:lnTo>
                  <a:lnTo>
                    <a:pt x="293" y="619"/>
                  </a:lnTo>
                  <a:lnTo>
                    <a:pt x="310" y="630"/>
                  </a:lnTo>
                  <a:lnTo>
                    <a:pt x="328" y="638"/>
                  </a:lnTo>
                  <a:lnTo>
                    <a:pt x="354" y="646"/>
                  </a:lnTo>
                  <a:lnTo>
                    <a:pt x="380" y="652"/>
                  </a:lnTo>
                  <a:lnTo>
                    <a:pt x="405" y="656"/>
                  </a:lnTo>
                  <a:lnTo>
                    <a:pt x="419" y="657"/>
                  </a:lnTo>
                  <a:lnTo>
                    <a:pt x="433" y="658"/>
                  </a:lnTo>
                  <a:lnTo>
                    <a:pt x="457" y="657"/>
                  </a:lnTo>
                  <a:lnTo>
                    <a:pt x="479" y="653"/>
                  </a:lnTo>
                  <a:lnTo>
                    <a:pt x="501" y="649"/>
                  </a:lnTo>
                  <a:lnTo>
                    <a:pt x="523" y="644"/>
                  </a:lnTo>
                  <a:lnTo>
                    <a:pt x="537" y="638"/>
                  </a:lnTo>
                  <a:lnTo>
                    <a:pt x="549" y="631"/>
                  </a:lnTo>
                  <a:lnTo>
                    <a:pt x="562" y="623"/>
                  </a:lnTo>
                  <a:lnTo>
                    <a:pt x="573" y="614"/>
                  </a:lnTo>
                  <a:lnTo>
                    <a:pt x="584" y="604"/>
                  </a:lnTo>
                  <a:lnTo>
                    <a:pt x="593" y="592"/>
                  </a:lnTo>
                  <a:lnTo>
                    <a:pt x="601" y="581"/>
                  </a:lnTo>
                  <a:lnTo>
                    <a:pt x="607" y="567"/>
                  </a:lnTo>
                  <a:lnTo>
                    <a:pt x="615" y="549"/>
                  </a:lnTo>
                  <a:lnTo>
                    <a:pt x="620" y="529"/>
                  </a:lnTo>
                  <a:lnTo>
                    <a:pt x="622" y="509"/>
                  </a:lnTo>
                  <a:lnTo>
                    <a:pt x="623" y="489"/>
                  </a:lnTo>
                  <a:lnTo>
                    <a:pt x="828" y="489"/>
                  </a:lnTo>
                  <a:lnTo>
                    <a:pt x="827" y="506"/>
                  </a:lnTo>
                  <a:lnTo>
                    <a:pt x="825" y="524"/>
                  </a:lnTo>
                  <a:lnTo>
                    <a:pt x="822" y="541"/>
                  </a:lnTo>
                  <a:lnTo>
                    <a:pt x="819" y="558"/>
                  </a:lnTo>
                  <a:lnTo>
                    <a:pt x="815" y="571"/>
                  </a:lnTo>
                  <a:lnTo>
                    <a:pt x="810" y="585"/>
                  </a:lnTo>
                  <a:lnTo>
                    <a:pt x="805" y="598"/>
                  </a:lnTo>
                  <a:lnTo>
                    <a:pt x="800" y="610"/>
                  </a:lnTo>
                  <a:lnTo>
                    <a:pt x="793" y="622"/>
                  </a:lnTo>
                  <a:lnTo>
                    <a:pt x="786" y="634"/>
                  </a:lnTo>
                  <a:lnTo>
                    <a:pt x="778" y="645"/>
                  </a:lnTo>
                  <a:lnTo>
                    <a:pt x="770" y="656"/>
                  </a:lnTo>
                  <a:lnTo>
                    <a:pt x="760" y="666"/>
                  </a:lnTo>
                  <a:lnTo>
                    <a:pt x="750" y="676"/>
                  </a:lnTo>
                  <a:lnTo>
                    <a:pt x="741" y="684"/>
                  </a:lnTo>
                  <a:lnTo>
                    <a:pt x="730" y="693"/>
                  </a:lnTo>
                  <a:lnTo>
                    <a:pt x="718" y="700"/>
                  </a:lnTo>
                  <a:lnTo>
                    <a:pt x="708" y="708"/>
                  </a:lnTo>
                  <a:lnTo>
                    <a:pt x="695" y="714"/>
                  </a:lnTo>
                  <a:lnTo>
                    <a:pt x="683" y="720"/>
                  </a:lnTo>
                  <a:lnTo>
                    <a:pt x="653" y="731"/>
                  </a:lnTo>
                  <a:lnTo>
                    <a:pt x="623" y="741"/>
                  </a:lnTo>
                  <a:lnTo>
                    <a:pt x="593" y="751"/>
                  </a:lnTo>
                  <a:lnTo>
                    <a:pt x="562" y="757"/>
                  </a:lnTo>
                  <a:lnTo>
                    <a:pt x="530" y="764"/>
                  </a:lnTo>
                  <a:lnTo>
                    <a:pt x="498" y="768"/>
                  </a:lnTo>
                  <a:lnTo>
                    <a:pt x="466" y="770"/>
                  </a:lnTo>
                  <a:lnTo>
                    <a:pt x="433" y="771"/>
                  </a:lnTo>
                  <a:lnTo>
                    <a:pt x="407" y="770"/>
                  </a:lnTo>
                  <a:lnTo>
                    <a:pt x="382" y="769"/>
                  </a:lnTo>
                  <a:lnTo>
                    <a:pt x="357" y="767"/>
                  </a:lnTo>
                  <a:lnTo>
                    <a:pt x="332" y="764"/>
                  </a:lnTo>
                  <a:lnTo>
                    <a:pt x="307" y="759"/>
                  </a:lnTo>
                  <a:lnTo>
                    <a:pt x="283" y="754"/>
                  </a:lnTo>
                  <a:lnTo>
                    <a:pt x="259" y="748"/>
                  </a:lnTo>
                  <a:lnTo>
                    <a:pt x="235" y="741"/>
                  </a:lnTo>
                  <a:lnTo>
                    <a:pt x="218" y="735"/>
                  </a:lnTo>
                  <a:lnTo>
                    <a:pt x="201" y="727"/>
                  </a:lnTo>
                  <a:lnTo>
                    <a:pt x="184" y="720"/>
                  </a:lnTo>
                  <a:lnTo>
                    <a:pt x="168" y="711"/>
                  </a:lnTo>
                  <a:lnTo>
                    <a:pt x="152" y="702"/>
                  </a:lnTo>
                  <a:lnTo>
                    <a:pt x="137" y="692"/>
                  </a:lnTo>
                  <a:lnTo>
                    <a:pt x="122" y="680"/>
                  </a:lnTo>
                  <a:lnTo>
                    <a:pt x="108" y="668"/>
                  </a:lnTo>
                  <a:lnTo>
                    <a:pt x="94" y="657"/>
                  </a:lnTo>
                  <a:lnTo>
                    <a:pt x="83" y="643"/>
                  </a:lnTo>
                  <a:lnTo>
                    <a:pt x="71" y="629"/>
                  </a:lnTo>
                  <a:lnTo>
                    <a:pt x="60" y="614"/>
                  </a:lnTo>
                  <a:lnTo>
                    <a:pt x="49" y="599"/>
                  </a:lnTo>
                  <a:lnTo>
                    <a:pt x="41" y="583"/>
                  </a:lnTo>
                  <a:lnTo>
                    <a:pt x="33" y="567"/>
                  </a:lnTo>
                  <a:lnTo>
                    <a:pt x="27" y="55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7" name="Freeform 28">
              <a:extLst>
                <a:ext uri="{FF2B5EF4-FFF2-40B4-BE49-F238E27FC236}">
                  <a16:creationId xmlns:a16="http://schemas.microsoft.com/office/drawing/2014/main" id="{8C72210F-3FC7-4757-AFC8-307521BC7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42064" y="404207"/>
              <a:ext cx="39234" cy="102189"/>
            </a:xfrm>
            <a:custGeom>
              <a:avLst/>
              <a:gdLst>
                <a:gd name="T0" fmla="*/ 2147483647 w 180"/>
                <a:gd name="T1" fmla="*/ 2147483647 h 464"/>
                <a:gd name="T2" fmla="*/ 0 w 180"/>
                <a:gd name="T3" fmla="*/ 2147483647 h 464"/>
                <a:gd name="T4" fmla="*/ 0 w 180"/>
                <a:gd name="T5" fmla="*/ 2147483647 h 464"/>
                <a:gd name="T6" fmla="*/ 2147483647 w 180"/>
                <a:gd name="T7" fmla="*/ 2147483647 h 464"/>
                <a:gd name="T8" fmla="*/ 2147483647 w 180"/>
                <a:gd name="T9" fmla="*/ 2147483647 h 464"/>
                <a:gd name="T10" fmla="*/ 2147483647 w 180"/>
                <a:gd name="T11" fmla="*/ 2147483647 h 464"/>
                <a:gd name="T12" fmla="*/ 2147483647 w 180"/>
                <a:gd name="T13" fmla="*/ 2147483647 h 464"/>
                <a:gd name="T14" fmla="*/ 2147483647 w 180"/>
                <a:gd name="T15" fmla="*/ 2147483647 h 464"/>
                <a:gd name="T16" fmla="*/ 2147483647 w 180"/>
                <a:gd name="T17" fmla="*/ 2147483647 h 464"/>
                <a:gd name="T18" fmla="*/ 2147483647 w 180"/>
                <a:gd name="T19" fmla="*/ 2147483647 h 464"/>
                <a:gd name="T20" fmla="*/ 2147483647 w 180"/>
                <a:gd name="T21" fmla="*/ 2147483647 h 464"/>
                <a:gd name="T22" fmla="*/ 2147483647 w 180"/>
                <a:gd name="T23" fmla="*/ 2147483647 h 464"/>
                <a:gd name="T24" fmla="*/ 2147483647 w 180"/>
                <a:gd name="T25" fmla="*/ 2147483647 h 464"/>
                <a:gd name="T26" fmla="*/ 2147483647 w 180"/>
                <a:gd name="T27" fmla="*/ 2147483647 h 464"/>
                <a:gd name="T28" fmla="*/ 2147483647 w 180"/>
                <a:gd name="T29" fmla="*/ 2147483647 h 464"/>
                <a:gd name="T30" fmla="*/ 2147483647 w 180"/>
                <a:gd name="T31" fmla="*/ 2147483647 h 464"/>
                <a:gd name="T32" fmla="*/ 2147483647 w 180"/>
                <a:gd name="T33" fmla="*/ 2147483647 h 464"/>
                <a:gd name="T34" fmla="*/ 2147483647 w 180"/>
                <a:gd name="T35" fmla="*/ 2147483647 h 464"/>
                <a:gd name="T36" fmla="*/ 2147483647 w 180"/>
                <a:gd name="T37" fmla="*/ 0 h 464"/>
                <a:gd name="T38" fmla="*/ 2147483647 w 180"/>
                <a:gd name="T39" fmla="*/ 2147483647 h 46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80"/>
                <a:gd name="T61" fmla="*/ 0 h 464"/>
                <a:gd name="T62" fmla="*/ 180 w 180"/>
                <a:gd name="T63" fmla="*/ 464 h 46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80" h="464">
                  <a:moveTo>
                    <a:pt x="173" y="1"/>
                  </a:moveTo>
                  <a:lnTo>
                    <a:pt x="0" y="17"/>
                  </a:lnTo>
                  <a:lnTo>
                    <a:pt x="0" y="43"/>
                  </a:lnTo>
                  <a:lnTo>
                    <a:pt x="5" y="43"/>
                  </a:lnTo>
                  <a:lnTo>
                    <a:pt x="29" y="46"/>
                  </a:lnTo>
                  <a:lnTo>
                    <a:pt x="46" y="48"/>
                  </a:lnTo>
                  <a:lnTo>
                    <a:pt x="58" y="53"/>
                  </a:lnTo>
                  <a:lnTo>
                    <a:pt x="63" y="55"/>
                  </a:lnTo>
                  <a:lnTo>
                    <a:pt x="66" y="57"/>
                  </a:lnTo>
                  <a:lnTo>
                    <a:pt x="69" y="60"/>
                  </a:lnTo>
                  <a:lnTo>
                    <a:pt x="72" y="63"/>
                  </a:lnTo>
                  <a:lnTo>
                    <a:pt x="73" y="68"/>
                  </a:lnTo>
                  <a:lnTo>
                    <a:pt x="74" y="73"/>
                  </a:lnTo>
                  <a:lnTo>
                    <a:pt x="75" y="85"/>
                  </a:lnTo>
                  <a:lnTo>
                    <a:pt x="75" y="102"/>
                  </a:lnTo>
                  <a:lnTo>
                    <a:pt x="75" y="464"/>
                  </a:lnTo>
                  <a:lnTo>
                    <a:pt x="180" y="464"/>
                  </a:lnTo>
                  <a:lnTo>
                    <a:pt x="180" y="0"/>
                  </a:lnTo>
                  <a:lnTo>
                    <a:pt x="173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59" name="Freeform 29">
              <a:extLst>
                <a:ext uri="{FF2B5EF4-FFF2-40B4-BE49-F238E27FC236}">
                  <a16:creationId xmlns:a16="http://schemas.microsoft.com/office/drawing/2014/main" id="{00854618-7163-45CF-840D-B36A7B33A2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02351" y="433812"/>
              <a:ext cx="80382" cy="72583"/>
            </a:xfrm>
            <a:custGeom>
              <a:avLst/>
              <a:gdLst>
                <a:gd name="T0" fmla="*/ 2147483647 w 366"/>
                <a:gd name="T1" fmla="*/ 2147483647 h 327"/>
                <a:gd name="T2" fmla="*/ 2147483647 w 366"/>
                <a:gd name="T3" fmla="*/ 2147483647 h 327"/>
                <a:gd name="T4" fmla="*/ 2147483647 w 366"/>
                <a:gd name="T5" fmla="*/ 2147483647 h 327"/>
                <a:gd name="T6" fmla="*/ 2147483647 w 366"/>
                <a:gd name="T7" fmla="*/ 2147483647 h 327"/>
                <a:gd name="T8" fmla="*/ 2147483647 w 366"/>
                <a:gd name="T9" fmla="*/ 2147483647 h 327"/>
                <a:gd name="T10" fmla="*/ 2147483647 w 366"/>
                <a:gd name="T11" fmla="*/ 2147483647 h 327"/>
                <a:gd name="T12" fmla="*/ 2147483647 w 366"/>
                <a:gd name="T13" fmla="*/ 2147483647 h 327"/>
                <a:gd name="T14" fmla="*/ 2147483647 w 366"/>
                <a:gd name="T15" fmla="*/ 0 h 327"/>
                <a:gd name="T16" fmla="*/ 0 w 366"/>
                <a:gd name="T17" fmla="*/ 2147483647 h 327"/>
                <a:gd name="T18" fmla="*/ 2147483647 w 366"/>
                <a:gd name="T19" fmla="*/ 2147483647 h 327"/>
                <a:gd name="T20" fmla="*/ 2147483647 w 366"/>
                <a:gd name="T21" fmla="*/ 2147483647 h 327"/>
                <a:gd name="T22" fmla="*/ 2147483647 w 366"/>
                <a:gd name="T23" fmla="*/ 2147483647 h 327"/>
                <a:gd name="T24" fmla="*/ 2147483647 w 366"/>
                <a:gd name="T25" fmla="*/ 2147483647 h 327"/>
                <a:gd name="T26" fmla="*/ 2147483647 w 366"/>
                <a:gd name="T27" fmla="*/ 2147483647 h 327"/>
                <a:gd name="T28" fmla="*/ 2147483647 w 366"/>
                <a:gd name="T29" fmla="*/ 2147483647 h 327"/>
                <a:gd name="T30" fmla="*/ 2147483647 w 366"/>
                <a:gd name="T31" fmla="*/ 2147483647 h 327"/>
                <a:gd name="T32" fmla="*/ 2147483647 w 366"/>
                <a:gd name="T33" fmla="*/ 2147483647 h 327"/>
                <a:gd name="T34" fmla="*/ 2147483647 w 366"/>
                <a:gd name="T35" fmla="*/ 2147483647 h 327"/>
                <a:gd name="T36" fmla="*/ 2147483647 w 366"/>
                <a:gd name="T37" fmla="*/ 2147483647 h 327"/>
                <a:gd name="T38" fmla="*/ 2147483647 w 366"/>
                <a:gd name="T39" fmla="*/ 2147483647 h 327"/>
                <a:gd name="T40" fmla="*/ 2147483647 w 366"/>
                <a:gd name="T41" fmla="*/ 2147483647 h 327"/>
                <a:gd name="T42" fmla="*/ 2147483647 w 366"/>
                <a:gd name="T43" fmla="*/ 2147483647 h 327"/>
                <a:gd name="T44" fmla="*/ 2147483647 w 366"/>
                <a:gd name="T45" fmla="*/ 2147483647 h 327"/>
                <a:gd name="T46" fmla="*/ 2147483647 w 366"/>
                <a:gd name="T47" fmla="*/ 2147483647 h 327"/>
                <a:gd name="T48" fmla="*/ 2147483647 w 366"/>
                <a:gd name="T49" fmla="*/ 2147483647 h 327"/>
                <a:gd name="T50" fmla="*/ 2147483647 w 366"/>
                <a:gd name="T51" fmla="*/ 2147483647 h 327"/>
                <a:gd name="T52" fmla="*/ 2147483647 w 366"/>
                <a:gd name="T53" fmla="*/ 2147483647 h 327"/>
                <a:gd name="T54" fmla="*/ 2147483647 w 366"/>
                <a:gd name="T55" fmla="*/ 2147483647 h 327"/>
                <a:gd name="T56" fmla="*/ 2147483647 w 366"/>
                <a:gd name="T57" fmla="*/ 2147483647 h 327"/>
                <a:gd name="T58" fmla="*/ 2147483647 w 366"/>
                <a:gd name="T59" fmla="*/ 2147483647 h 327"/>
                <a:gd name="T60" fmla="*/ 2147483647 w 366"/>
                <a:gd name="T61" fmla="*/ 2147483647 h 327"/>
                <a:gd name="T62" fmla="*/ 2147483647 w 366"/>
                <a:gd name="T63" fmla="*/ 2147483647 h 327"/>
                <a:gd name="T64" fmla="*/ 2147483647 w 366"/>
                <a:gd name="T65" fmla="*/ 2147483647 h 327"/>
                <a:gd name="T66" fmla="*/ 2147483647 w 366"/>
                <a:gd name="T67" fmla="*/ 2147483647 h 327"/>
                <a:gd name="T68" fmla="*/ 2147483647 w 366"/>
                <a:gd name="T69" fmla="*/ 2147483647 h 327"/>
                <a:gd name="T70" fmla="*/ 2147483647 w 366"/>
                <a:gd name="T71" fmla="*/ 2147483647 h 327"/>
                <a:gd name="T72" fmla="*/ 2147483647 w 366"/>
                <a:gd name="T73" fmla="*/ 2147483647 h 327"/>
                <a:gd name="T74" fmla="*/ 2147483647 w 366"/>
                <a:gd name="T75" fmla="*/ 2147483647 h 327"/>
                <a:gd name="T76" fmla="*/ 2147483647 w 366"/>
                <a:gd name="T77" fmla="*/ 2147483647 h 327"/>
                <a:gd name="T78" fmla="*/ 2147483647 w 366"/>
                <a:gd name="T79" fmla="*/ 2147483647 h 327"/>
                <a:gd name="T80" fmla="*/ 2147483647 w 366"/>
                <a:gd name="T81" fmla="*/ 2147483647 h 32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6"/>
                <a:gd name="T124" fmla="*/ 0 h 327"/>
                <a:gd name="T125" fmla="*/ 366 w 366"/>
                <a:gd name="T126" fmla="*/ 327 h 32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6" h="327">
                  <a:moveTo>
                    <a:pt x="269" y="1"/>
                  </a:moveTo>
                  <a:lnTo>
                    <a:pt x="269" y="1"/>
                  </a:lnTo>
                  <a:lnTo>
                    <a:pt x="257" y="2"/>
                  </a:lnTo>
                  <a:lnTo>
                    <a:pt x="246" y="3"/>
                  </a:lnTo>
                  <a:lnTo>
                    <a:pt x="236" y="5"/>
                  </a:lnTo>
                  <a:lnTo>
                    <a:pt x="226" y="9"/>
                  </a:lnTo>
                  <a:lnTo>
                    <a:pt x="216" y="12"/>
                  </a:lnTo>
                  <a:lnTo>
                    <a:pt x="207" y="16"/>
                  </a:lnTo>
                  <a:lnTo>
                    <a:pt x="199" y="21"/>
                  </a:lnTo>
                  <a:lnTo>
                    <a:pt x="191" y="27"/>
                  </a:lnTo>
                  <a:lnTo>
                    <a:pt x="177" y="37"/>
                  </a:lnTo>
                  <a:lnTo>
                    <a:pt x="166" y="49"/>
                  </a:lnTo>
                  <a:lnTo>
                    <a:pt x="156" y="61"/>
                  </a:lnTo>
                  <a:lnTo>
                    <a:pt x="148" y="72"/>
                  </a:lnTo>
                  <a:lnTo>
                    <a:pt x="148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7" y="48"/>
                  </a:lnTo>
                  <a:lnTo>
                    <a:pt x="22" y="49"/>
                  </a:lnTo>
                  <a:lnTo>
                    <a:pt x="34" y="51"/>
                  </a:lnTo>
                  <a:lnTo>
                    <a:pt x="43" y="55"/>
                  </a:lnTo>
                  <a:lnTo>
                    <a:pt x="47" y="57"/>
                  </a:lnTo>
                  <a:lnTo>
                    <a:pt x="51" y="59"/>
                  </a:lnTo>
                  <a:lnTo>
                    <a:pt x="53" y="62"/>
                  </a:lnTo>
                  <a:lnTo>
                    <a:pt x="56" y="66"/>
                  </a:lnTo>
                  <a:lnTo>
                    <a:pt x="59" y="75"/>
                  </a:lnTo>
                  <a:lnTo>
                    <a:pt x="60" y="87"/>
                  </a:lnTo>
                  <a:lnTo>
                    <a:pt x="61" y="101"/>
                  </a:lnTo>
                  <a:lnTo>
                    <a:pt x="61" y="327"/>
                  </a:lnTo>
                  <a:lnTo>
                    <a:pt x="148" y="327"/>
                  </a:lnTo>
                  <a:lnTo>
                    <a:pt x="148" y="160"/>
                  </a:lnTo>
                  <a:lnTo>
                    <a:pt x="149" y="152"/>
                  </a:lnTo>
                  <a:lnTo>
                    <a:pt x="150" y="143"/>
                  </a:lnTo>
                  <a:lnTo>
                    <a:pt x="152" y="135"/>
                  </a:lnTo>
                  <a:lnTo>
                    <a:pt x="155" y="126"/>
                  </a:lnTo>
                  <a:lnTo>
                    <a:pt x="160" y="118"/>
                  </a:lnTo>
                  <a:lnTo>
                    <a:pt x="164" y="109"/>
                  </a:lnTo>
                  <a:lnTo>
                    <a:pt x="169" y="101"/>
                  </a:lnTo>
                  <a:lnTo>
                    <a:pt x="175" y="93"/>
                  </a:lnTo>
                  <a:lnTo>
                    <a:pt x="181" y="86"/>
                  </a:lnTo>
                  <a:lnTo>
                    <a:pt x="187" y="79"/>
                  </a:lnTo>
                  <a:lnTo>
                    <a:pt x="195" y="74"/>
                  </a:lnTo>
                  <a:lnTo>
                    <a:pt x="202" y="68"/>
                  </a:lnTo>
                  <a:lnTo>
                    <a:pt x="210" y="64"/>
                  </a:lnTo>
                  <a:lnTo>
                    <a:pt x="218" y="61"/>
                  </a:lnTo>
                  <a:lnTo>
                    <a:pt x="226" y="59"/>
                  </a:lnTo>
                  <a:lnTo>
                    <a:pt x="234" y="59"/>
                  </a:lnTo>
                  <a:lnTo>
                    <a:pt x="242" y="59"/>
                  </a:lnTo>
                  <a:lnTo>
                    <a:pt x="248" y="60"/>
                  </a:lnTo>
                  <a:lnTo>
                    <a:pt x="255" y="62"/>
                  </a:lnTo>
                  <a:lnTo>
                    <a:pt x="259" y="65"/>
                  </a:lnTo>
                  <a:lnTo>
                    <a:pt x="263" y="68"/>
                  </a:lnTo>
                  <a:lnTo>
                    <a:pt x="267" y="73"/>
                  </a:lnTo>
                  <a:lnTo>
                    <a:pt x="270" y="78"/>
                  </a:lnTo>
                  <a:lnTo>
                    <a:pt x="272" y="83"/>
                  </a:lnTo>
                  <a:lnTo>
                    <a:pt x="276" y="96"/>
                  </a:lnTo>
                  <a:lnTo>
                    <a:pt x="277" y="112"/>
                  </a:lnTo>
                  <a:lnTo>
                    <a:pt x="278" y="130"/>
                  </a:lnTo>
                  <a:lnTo>
                    <a:pt x="278" y="151"/>
                  </a:lnTo>
                  <a:lnTo>
                    <a:pt x="278" y="327"/>
                  </a:lnTo>
                  <a:lnTo>
                    <a:pt x="366" y="327"/>
                  </a:lnTo>
                  <a:lnTo>
                    <a:pt x="366" y="101"/>
                  </a:lnTo>
                  <a:lnTo>
                    <a:pt x="366" y="89"/>
                  </a:lnTo>
                  <a:lnTo>
                    <a:pt x="365" y="78"/>
                  </a:lnTo>
                  <a:lnTo>
                    <a:pt x="363" y="67"/>
                  </a:lnTo>
                  <a:lnTo>
                    <a:pt x="359" y="58"/>
                  </a:lnTo>
                  <a:lnTo>
                    <a:pt x="356" y="49"/>
                  </a:lnTo>
                  <a:lnTo>
                    <a:pt x="352" y="41"/>
                  </a:lnTo>
                  <a:lnTo>
                    <a:pt x="347" y="33"/>
                  </a:lnTo>
                  <a:lnTo>
                    <a:pt x="341" y="27"/>
                  </a:lnTo>
                  <a:lnTo>
                    <a:pt x="335" y="21"/>
                  </a:lnTo>
                  <a:lnTo>
                    <a:pt x="327" y="16"/>
                  </a:lnTo>
                  <a:lnTo>
                    <a:pt x="320" y="12"/>
                  </a:lnTo>
                  <a:lnTo>
                    <a:pt x="310" y="7"/>
                  </a:lnTo>
                  <a:lnTo>
                    <a:pt x="302" y="5"/>
                  </a:lnTo>
                  <a:lnTo>
                    <a:pt x="291" y="3"/>
                  </a:lnTo>
                  <a:lnTo>
                    <a:pt x="280" y="2"/>
                  </a:lnTo>
                  <a:lnTo>
                    <a:pt x="26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0" name="Freeform 22">
              <a:extLst>
                <a:ext uri="{FF2B5EF4-FFF2-40B4-BE49-F238E27FC236}">
                  <a16:creationId xmlns:a16="http://schemas.microsoft.com/office/drawing/2014/main" id="{1C0D2430-60A6-4464-A071-04A5EDEE51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04742" y="434767"/>
              <a:ext cx="54545" cy="72583"/>
            </a:xfrm>
            <a:custGeom>
              <a:avLst/>
              <a:gdLst>
                <a:gd name="T0" fmla="*/ 2147483647 w 245"/>
                <a:gd name="T1" fmla="*/ 2147483647 h 334"/>
                <a:gd name="T2" fmla="*/ 2147483647 w 245"/>
                <a:gd name="T3" fmla="*/ 2147483647 h 334"/>
                <a:gd name="T4" fmla="*/ 2147483647 w 245"/>
                <a:gd name="T5" fmla="*/ 2147483647 h 334"/>
                <a:gd name="T6" fmla="*/ 2147483647 w 245"/>
                <a:gd name="T7" fmla="*/ 2147483647 h 334"/>
                <a:gd name="T8" fmla="*/ 2147483647 w 245"/>
                <a:gd name="T9" fmla="*/ 2147483647 h 334"/>
                <a:gd name="T10" fmla="*/ 2147483647 w 245"/>
                <a:gd name="T11" fmla="*/ 2147483647 h 334"/>
                <a:gd name="T12" fmla="*/ 2147483647 w 245"/>
                <a:gd name="T13" fmla="*/ 2147483647 h 334"/>
                <a:gd name="T14" fmla="*/ 2147483647 w 245"/>
                <a:gd name="T15" fmla="*/ 2147483647 h 334"/>
                <a:gd name="T16" fmla="*/ 2147483647 w 245"/>
                <a:gd name="T17" fmla="*/ 2147483647 h 334"/>
                <a:gd name="T18" fmla="*/ 2147483647 w 245"/>
                <a:gd name="T19" fmla="*/ 2147483647 h 334"/>
                <a:gd name="T20" fmla="*/ 2147483647 w 245"/>
                <a:gd name="T21" fmla="*/ 2147483647 h 334"/>
                <a:gd name="T22" fmla="*/ 2147483647 w 245"/>
                <a:gd name="T23" fmla="*/ 2147483647 h 334"/>
                <a:gd name="T24" fmla="*/ 2147483647 w 245"/>
                <a:gd name="T25" fmla="*/ 2147483647 h 334"/>
                <a:gd name="T26" fmla="*/ 2147483647 w 245"/>
                <a:gd name="T27" fmla="*/ 2147483647 h 334"/>
                <a:gd name="T28" fmla="*/ 2147483647 w 245"/>
                <a:gd name="T29" fmla="*/ 2147483647 h 334"/>
                <a:gd name="T30" fmla="*/ 2147483647 w 245"/>
                <a:gd name="T31" fmla="*/ 2147483647 h 334"/>
                <a:gd name="T32" fmla="*/ 2147483647 w 245"/>
                <a:gd name="T33" fmla="*/ 2147483647 h 334"/>
                <a:gd name="T34" fmla="*/ 0 w 245"/>
                <a:gd name="T35" fmla="*/ 2147483647 h 334"/>
                <a:gd name="T36" fmla="*/ 2147483647 w 245"/>
                <a:gd name="T37" fmla="*/ 2147483647 h 334"/>
                <a:gd name="T38" fmla="*/ 2147483647 w 245"/>
                <a:gd name="T39" fmla="*/ 2147483647 h 334"/>
                <a:gd name="T40" fmla="*/ 2147483647 w 245"/>
                <a:gd name="T41" fmla="*/ 2147483647 h 334"/>
                <a:gd name="T42" fmla="*/ 2147483647 w 245"/>
                <a:gd name="T43" fmla="*/ 2147483647 h 334"/>
                <a:gd name="T44" fmla="*/ 2147483647 w 245"/>
                <a:gd name="T45" fmla="*/ 2147483647 h 334"/>
                <a:gd name="T46" fmla="*/ 2147483647 w 245"/>
                <a:gd name="T47" fmla="*/ 2147483647 h 334"/>
                <a:gd name="T48" fmla="*/ 2147483647 w 245"/>
                <a:gd name="T49" fmla="*/ 2147483647 h 334"/>
                <a:gd name="T50" fmla="*/ 2147483647 w 245"/>
                <a:gd name="T51" fmla="*/ 2147483647 h 334"/>
                <a:gd name="T52" fmla="*/ 2147483647 w 245"/>
                <a:gd name="T53" fmla="*/ 2147483647 h 334"/>
                <a:gd name="T54" fmla="*/ 2147483647 w 245"/>
                <a:gd name="T55" fmla="*/ 2147483647 h 334"/>
                <a:gd name="T56" fmla="*/ 2147483647 w 245"/>
                <a:gd name="T57" fmla="*/ 2147483647 h 334"/>
                <a:gd name="T58" fmla="*/ 2147483647 w 245"/>
                <a:gd name="T59" fmla="*/ 2147483647 h 334"/>
                <a:gd name="T60" fmla="*/ 2147483647 w 245"/>
                <a:gd name="T61" fmla="*/ 2147483647 h 334"/>
                <a:gd name="T62" fmla="*/ 2147483647 w 245"/>
                <a:gd name="T63" fmla="*/ 2147483647 h 334"/>
                <a:gd name="T64" fmla="*/ 2147483647 w 245"/>
                <a:gd name="T65" fmla="*/ 2147483647 h 334"/>
                <a:gd name="T66" fmla="*/ 2147483647 w 245"/>
                <a:gd name="T67" fmla="*/ 2147483647 h 334"/>
                <a:gd name="T68" fmla="*/ 2147483647 w 245"/>
                <a:gd name="T69" fmla="*/ 2147483647 h 334"/>
                <a:gd name="T70" fmla="*/ 2147483647 w 245"/>
                <a:gd name="T71" fmla="*/ 2147483647 h 334"/>
                <a:gd name="T72" fmla="*/ 2147483647 w 245"/>
                <a:gd name="T73" fmla="*/ 2147483647 h 334"/>
                <a:gd name="T74" fmla="*/ 2147483647 w 245"/>
                <a:gd name="T75" fmla="*/ 2147483647 h 334"/>
                <a:gd name="T76" fmla="*/ 2147483647 w 245"/>
                <a:gd name="T77" fmla="*/ 2147483647 h 334"/>
                <a:gd name="T78" fmla="*/ 2147483647 w 245"/>
                <a:gd name="T79" fmla="*/ 2147483647 h 334"/>
                <a:gd name="T80" fmla="*/ 2147483647 w 245"/>
                <a:gd name="T81" fmla="*/ 2147483647 h 334"/>
                <a:gd name="T82" fmla="*/ 2147483647 w 245"/>
                <a:gd name="T83" fmla="*/ 2147483647 h 334"/>
                <a:gd name="T84" fmla="*/ 2147483647 w 245"/>
                <a:gd name="T85" fmla="*/ 2147483647 h 334"/>
                <a:gd name="T86" fmla="*/ 2147483647 w 245"/>
                <a:gd name="T87" fmla="*/ 2147483647 h 3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5"/>
                <a:gd name="T133" fmla="*/ 0 h 334"/>
                <a:gd name="T134" fmla="*/ 245 w 245"/>
                <a:gd name="T135" fmla="*/ 334 h 3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5" h="334">
                  <a:moveTo>
                    <a:pt x="145" y="127"/>
                  </a:moveTo>
                  <a:lnTo>
                    <a:pt x="145" y="127"/>
                  </a:lnTo>
                  <a:lnTo>
                    <a:pt x="120" y="115"/>
                  </a:lnTo>
                  <a:lnTo>
                    <a:pt x="109" y="108"/>
                  </a:lnTo>
                  <a:lnTo>
                    <a:pt x="100" y="102"/>
                  </a:lnTo>
                  <a:lnTo>
                    <a:pt x="91" y="95"/>
                  </a:lnTo>
                  <a:lnTo>
                    <a:pt x="86" y="88"/>
                  </a:lnTo>
                  <a:lnTo>
                    <a:pt x="82" y="80"/>
                  </a:lnTo>
                  <a:lnTo>
                    <a:pt x="81" y="76"/>
                  </a:lnTo>
                  <a:lnTo>
                    <a:pt x="81" y="72"/>
                  </a:lnTo>
                  <a:lnTo>
                    <a:pt x="81" y="67"/>
                  </a:lnTo>
                  <a:lnTo>
                    <a:pt x="82" y="63"/>
                  </a:lnTo>
                  <a:lnTo>
                    <a:pt x="84" y="59"/>
                  </a:lnTo>
                  <a:lnTo>
                    <a:pt x="86" y="56"/>
                  </a:lnTo>
                  <a:lnTo>
                    <a:pt x="91" y="50"/>
                  </a:lnTo>
                  <a:lnTo>
                    <a:pt x="99" y="47"/>
                  </a:lnTo>
                  <a:lnTo>
                    <a:pt x="106" y="44"/>
                  </a:lnTo>
                  <a:lnTo>
                    <a:pt x="114" y="43"/>
                  </a:lnTo>
                  <a:lnTo>
                    <a:pt x="127" y="42"/>
                  </a:lnTo>
                  <a:lnTo>
                    <a:pt x="140" y="43"/>
                  </a:lnTo>
                  <a:lnTo>
                    <a:pt x="153" y="45"/>
                  </a:lnTo>
                  <a:lnTo>
                    <a:pt x="165" y="48"/>
                  </a:lnTo>
                  <a:lnTo>
                    <a:pt x="176" y="52"/>
                  </a:lnTo>
                  <a:lnTo>
                    <a:pt x="186" y="58"/>
                  </a:lnTo>
                  <a:lnTo>
                    <a:pt x="195" y="62"/>
                  </a:lnTo>
                  <a:lnTo>
                    <a:pt x="209" y="70"/>
                  </a:lnTo>
                  <a:lnTo>
                    <a:pt x="223" y="78"/>
                  </a:lnTo>
                  <a:lnTo>
                    <a:pt x="223" y="67"/>
                  </a:lnTo>
                  <a:lnTo>
                    <a:pt x="223" y="13"/>
                  </a:lnTo>
                  <a:lnTo>
                    <a:pt x="211" y="11"/>
                  </a:lnTo>
                  <a:lnTo>
                    <a:pt x="197" y="8"/>
                  </a:lnTo>
                  <a:lnTo>
                    <a:pt x="179" y="4"/>
                  </a:lnTo>
                  <a:lnTo>
                    <a:pt x="156" y="1"/>
                  </a:lnTo>
                  <a:lnTo>
                    <a:pt x="132" y="0"/>
                  </a:lnTo>
                  <a:lnTo>
                    <a:pt x="117" y="1"/>
                  </a:lnTo>
                  <a:lnTo>
                    <a:pt x="103" y="2"/>
                  </a:lnTo>
                  <a:lnTo>
                    <a:pt x="89" y="4"/>
                  </a:lnTo>
                  <a:lnTo>
                    <a:pt x="76" y="6"/>
                  </a:lnTo>
                  <a:lnTo>
                    <a:pt x="65" y="11"/>
                  </a:lnTo>
                  <a:lnTo>
                    <a:pt x="54" y="15"/>
                  </a:lnTo>
                  <a:lnTo>
                    <a:pt x="44" y="19"/>
                  </a:lnTo>
                  <a:lnTo>
                    <a:pt x="35" y="26"/>
                  </a:lnTo>
                  <a:lnTo>
                    <a:pt x="27" y="32"/>
                  </a:lnTo>
                  <a:lnTo>
                    <a:pt x="20" y="39"/>
                  </a:lnTo>
                  <a:lnTo>
                    <a:pt x="14" y="47"/>
                  </a:lnTo>
                  <a:lnTo>
                    <a:pt x="9" y="56"/>
                  </a:lnTo>
                  <a:lnTo>
                    <a:pt x="6" y="64"/>
                  </a:lnTo>
                  <a:lnTo>
                    <a:pt x="3" y="74"/>
                  </a:lnTo>
                  <a:lnTo>
                    <a:pt x="0" y="85"/>
                  </a:lnTo>
                  <a:lnTo>
                    <a:pt x="0" y="95"/>
                  </a:lnTo>
                  <a:lnTo>
                    <a:pt x="0" y="105"/>
                  </a:lnTo>
                  <a:lnTo>
                    <a:pt x="3" y="113"/>
                  </a:lnTo>
                  <a:lnTo>
                    <a:pt x="6" y="122"/>
                  </a:lnTo>
                  <a:lnTo>
                    <a:pt x="9" y="131"/>
                  </a:lnTo>
                  <a:lnTo>
                    <a:pt x="13" y="137"/>
                  </a:lnTo>
                  <a:lnTo>
                    <a:pt x="19" y="144"/>
                  </a:lnTo>
                  <a:lnTo>
                    <a:pt x="25" y="151"/>
                  </a:lnTo>
                  <a:lnTo>
                    <a:pt x="31" y="157"/>
                  </a:lnTo>
                  <a:lnTo>
                    <a:pt x="46" y="168"/>
                  </a:lnTo>
                  <a:lnTo>
                    <a:pt x="62" y="178"/>
                  </a:lnTo>
                  <a:lnTo>
                    <a:pt x="79" y="187"/>
                  </a:lnTo>
                  <a:lnTo>
                    <a:pt x="97" y="196"/>
                  </a:lnTo>
                  <a:lnTo>
                    <a:pt x="122" y="209"/>
                  </a:lnTo>
                  <a:lnTo>
                    <a:pt x="134" y="215"/>
                  </a:lnTo>
                  <a:lnTo>
                    <a:pt x="144" y="221"/>
                  </a:lnTo>
                  <a:lnTo>
                    <a:pt x="152" y="229"/>
                  </a:lnTo>
                  <a:lnTo>
                    <a:pt x="159" y="236"/>
                  </a:lnTo>
                  <a:lnTo>
                    <a:pt x="162" y="241"/>
                  </a:lnTo>
                  <a:lnTo>
                    <a:pt x="163" y="245"/>
                  </a:lnTo>
                  <a:lnTo>
                    <a:pt x="164" y="249"/>
                  </a:lnTo>
                  <a:lnTo>
                    <a:pt x="165" y="255"/>
                  </a:lnTo>
                  <a:lnTo>
                    <a:pt x="164" y="263"/>
                  </a:lnTo>
                  <a:lnTo>
                    <a:pt x="161" y="271"/>
                  </a:lnTo>
                  <a:lnTo>
                    <a:pt x="156" y="277"/>
                  </a:lnTo>
                  <a:lnTo>
                    <a:pt x="149" y="282"/>
                  </a:lnTo>
                  <a:lnTo>
                    <a:pt x="141" y="287"/>
                  </a:lnTo>
                  <a:lnTo>
                    <a:pt x="131" y="290"/>
                  </a:lnTo>
                  <a:lnTo>
                    <a:pt x="119" y="292"/>
                  </a:lnTo>
                  <a:lnTo>
                    <a:pt x="106" y="292"/>
                  </a:lnTo>
                  <a:lnTo>
                    <a:pt x="91" y="292"/>
                  </a:lnTo>
                  <a:lnTo>
                    <a:pt x="77" y="289"/>
                  </a:lnTo>
                  <a:lnTo>
                    <a:pt x="63" y="286"/>
                  </a:lnTo>
                  <a:lnTo>
                    <a:pt x="51" y="280"/>
                  </a:lnTo>
                  <a:lnTo>
                    <a:pt x="39" y="275"/>
                  </a:lnTo>
                  <a:lnTo>
                    <a:pt x="28" y="270"/>
                  </a:lnTo>
                  <a:lnTo>
                    <a:pt x="10" y="259"/>
                  </a:lnTo>
                  <a:lnTo>
                    <a:pt x="1" y="254"/>
                  </a:lnTo>
                  <a:lnTo>
                    <a:pt x="1" y="321"/>
                  </a:lnTo>
                  <a:lnTo>
                    <a:pt x="8" y="322"/>
                  </a:lnTo>
                  <a:lnTo>
                    <a:pt x="24" y="326"/>
                  </a:lnTo>
                  <a:lnTo>
                    <a:pt x="45" y="329"/>
                  </a:lnTo>
                  <a:lnTo>
                    <a:pt x="72" y="333"/>
                  </a:lnTo>
                  <a:lnTo>
                    <a:pt x="87" y="334"/>
                  </a:lnTo>
                  <a:lnTo>
                    <a:pt x="103" y="334"/>
                  </a:lnTo>
                  <a:lnTo>
                    <a:pt x="119" y="334"/>
                  </a:lnTo>
                  <a:lnTo>
                    <a:pt x="135" y="333"/>
                  </a:lnTo>
                  <a:lnTo>
                    <a:pt x="149" y="331"/>
                  </a:lnTo>
                  <a:lnTo>
                    <a:pt x="163" y="327"/>
                  </a:lnTo>
                  <a:lnTo>
                    <a:pt x="176" y="324"/>
                  </a:lnTo>
                  <a:lnTo>
                    <a:pt x="187" y="319"/>
                  </a:lnTo>
                  <a:lnTo>
                    <a:pt x="198" y="314"/>
                  </a:lnTo>
                  <a:lnTo>
                    <a:pt x="208" y="308"/>
                  </a:lnTo>
                  <a:lnTo>
                    <a:pt x="216" y="302"/>
                  </a:lnTo>
                  <a:lnTo>
                    <a:pt x="224" y="294"/>
                  </a:lnTo>
                  <a:lnTo>
                    <a:pt x="230" y="287"/>
                  </a:lnTo>
                  <a:lnTo>
                    <a:pt x="236" y="278"/>
                  </a:lnTo>
                  <a:lnTo>
                    <a:pt x="240" y="269"/>
                  </a:lnTo>
                  <a:lnTo>
                    <a:pt x="242" y="259"/>
                  </a:lnTo>
                  <a:lnTo>
                    <a:pt x="244" y="248"/>
                  </a:lnTo>
                  <a:lnTo>
                    <a:pt x="245" y="236"/>
                  </a:lnTo>
                  <a:lnTo>
                    <a:pt x="244" y="226"/>
                  </a:lnTo>
                  <a:lnTo>
                    <a:pt x="242" y="216"/>
                  </a:lnTo>
                  <a:lnTo>
                    <a:pt x="240" y="206"/>
                  </a:lnTo>
                  <a:lnTo>
                    <a:pt x="236" y="198"/>
                  </a:lnTo>
                  <a:lnTo>
                    <a:pt x="231" y="189"/>
                  </a:lnTo>
                  <a:lnTo>
                    <a:pt x="226" y="182"/>
                  </a:lnTo>
                  <a:lnTo>
                    <a:pt x="219" y="174"/>
                  </a:lnTo>
                  <a:lnTo>
                    <a:pt x="212" y="168"/>
                  </a:lnTo>
                  <a:lnTo>
                    <a:pt x="197" y="156"/>
                  </a:lnTo>
                  <a:lnTo>
                    <a:pt x="180" y="146"/>
                  </a:lnTo>
                  <a:lnTo>
                    <a:pt x="162" y="136"/>
                  </a:lnTo>
                  <a:lnTo>
                    <a:pt x="145" y="127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1" name="Freeform 31">
              <a:extLst>
                <a:ext uri="{FF2B5EF4-FFF2-40B4-BE49-F238E27FC236}">
                  <a16:creationId xmlns:a16="http://schemas.microsoft.com/office/drawing/2014/main" id="{C72FE7A9-ED1C-4547-AE80-A460276CD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68855" y="433812"/>
              <a:ext cx="83252" cy="102189"/>
            </a:xfrm>
            <a:custGeom>
              <a:avLst/>
              <a:gdLst>
                <a:gd name="T0" fmla="*/ 2147483647 w 376"/>
                <a:gd name="T1" fmla="*/ 2147483647 h 462"/>
                <a:gd name="T2" fmla="*/ 2147483647 w 376"/>
                <a:gd name="T3" fmla="*/ 2147483647 h 462"/>
                <a:gd name="T4" fmla="*/ 2147483647 w 376"/>
                <a:gd name="T5" fmla="*/ 2147483647 h 462"/>
                <a:gd name="T6" fmla="*/ 2147483647 w 376"/>
                <a:gd name="T7" fmla="*/ 2147483647 h 462"/>
                <a:gd name="T8" fmla="*/ 2147483647 w 376"/>
                <a:gd name="T9" fmla="*/ 2147483647 h 462"/>
                <a:gd name="T10" fmla="*/ 2147483647 w 376"/>
                <a:gd name="T11" fmla="*/ 2147483647 h 462"/>
                <a:gd name="T12" fmla="*/ 2147483647 w 376"/>
                <a:gd name="T13" fmla="*/ 2147483647 h 462"/>
                <a:gd name="T14" fmla="*/ 2147483647 w 376"/>
                <a:gd name="T15" fmla="*/ 2147483647 h 462"/>
                <a:gd name="T16" fmla="*/ 2147483647 w 376"/>
                <a:gd name="T17" fmla="*/ 2147483647 h 462"/>
                <a:gd name="T18" fmla="*/ 2147483647 w 376"/>
                <a:gd name="T19" fmla="*/ 2147483647 h 462"/>
                <a:gd name="T20" fmla="*/ 2147483647 w 376"/>
                <a:gd name="T21" fmla="*/ 2147483647 h 462"/>
                <a:gd name="T22" fmla="*/ 2147483647 w 376"/>
                <a:gd name="T23" fmla="*/ 2147483647 h 462"/>
                <a:gd name="T24" fmla="*/ 2147483647 w 376"/>
                <a:gd name="T25" fmla="*/ 2147483647 h 462"/>
                <a:gd name="T26" fmla="*/ 2147483647 w 376"/>
                <a:gd name="T27" fmla="*/ 2147483647 h 462"/>
                <a:gd name="T28" fmla="*/ 2147483647 w 376"/>
                <a:gd name="T29" fmla="*/ 2147483647 h 462"/>
                <a:gd name="T30" fmla="*/ 2147483647 w 376"/>
                <a:gd name="T31" fmla="*/ 2147483647 h 462"/>
                <a:gd name="T32" fmla="*/ 2147483647 w 376"/>
                <a:gd name="T33" fmla="*/ 2147483647 h 462"/>
                <a:gd name="T34" fmla="*/ 2147483647 w 376"/>
                <a:gd name="T35" fmla="*/ 2147483647 h 462"/>
                <a:gd name="T36" fmla="*/ 2147483647 w 376"/>
                <a:gd name="T37" fmla="*/ 2147483647 h 462"/>
                <a:gd name="T38" fmla="*/ 2147483647 w 376"/>
                <a:gd name="T39" fmla="*/ 2147483647 h 462"/>
                <a:gd name="T40" fmla="*/ 2147483647 w 376"/>
                <a:gd name="T41" fmla="*/ 2147483647 h 462"/>
                <a:gd name="T42" fmla="*/ 2147483647 w 376"/>
                <a:gd name="T43" fmla="*/ 2147483647 h 462"/>
                <a:gd name="T44" fmla="*/ 2147483647 w 376"/>
                <a:gd name="T45" fmla="*/ 2147483647 h 462"/>
                <a:gd name="T46" fmla="*/ 2147483647 w 376"/>
                <a:gd name="T47" fmla="*/ 2147483647 h 462"/>
                <a:gd name="T48" fmla="*/ 2147483647 w 376"/>
                <a:gd name="T49" fmla="*/ 2147483647 h 462"/>
                <a:gd name="T50" fmla="*/ 2147483647 w 376"/>
                <a:gd name="T51" fmla="*/ 2147483647 h 462"/>
                <a:gd name="T52" fmla="*/ 2147483647 w 376"/>
                <a:gd name="T53" fmla="*/ 2147483647 h 462"/>
                <a:gd name="T54" fmla="*/ 2147483647 w 376"/>
                <a:gd name="T55" fmla="*/ 2147483647 h 462"/>
                <a:gd name="T56" fmla="*/ 2147483647 w 376"/>
                <a:gd name="T57" fmla="*/ 2147483647 h 462"/>
                <a:gd name="T58" fmla="*/ 2147483647 w 376"/>
                <a:gd name="T59" fmla="*/ 2147483647 h 462"/>
                <a:gd name="T60" fmla="*/ 2147483647 w 376"/>
                <a:gd name="T61" fmla="*/ 2147483647 h 462"/>
                <a:gd name="T62" fmla="*/ 2147483647 w 376"/>
                <a:gd name="T63" fmla="*/ 2147483647 h 462"/>
                <a:gd name="T64" fmla="*/ 2147483647 w 376"/>
                <a:gd name="T65" fmla="*/ 2147483647 h 462"/>
                <a:gd name="T66" fmla="*/ 2147483647 w 376"/>
                <a:gd name="T67" fmla="*/ 2147483647 h 462"/>
                <a:gd name="T68" fmla="*/ 2147483647 w 376"/>
                <a:gd name="T69" fmla="*/ 2147483647 h 462"/>
                <a:gd name="T70" fmla="*/ 2147483647 w 376"/>
                <a:gd name="T71" fmla="*/ 2147483647 h 462"/>
                <a:gd name="T72" fmla="*/ 2147483647 w 376"/>
                <a:gd name="T73" fmla="*/ 2147483647 h 462"/>
                <a:gd name="T74" fmla="*/ 2147483647 w 376"/>
                <a:gd name="T75" fmla="*/ 2147483647 h 462"/>
                <a:gd name="T76" fmla="*/ 2147483647 w 376"/>
                <a:gd name="T77" fmla="*/ 2147483647 h 462"/>
                <a:gd name="T78" fmla="*/ 2147483647 w 376"/>
                <a:gd name="T79" fmla="*/ 2147483647 h 462"/>
                <a:gd name="T80" fmla="*/ 2147483647 w 376"/>
                <a:gd name="T81" fmla="*/ 2147483647 h 462"/>
                <a:gd name="T82" fmla="*/ 2147483647 w 376"/>
                <a:gd name="T83" fmla="*/ 2147483647 h 462"/>
                <a:gd name="T84" fmla="*/ 2147483647 w 376"/>
                <a:gd name="T85" fmla="*/ 2147483647 h 462"/>
                <a:gd name="T86" fmla="*/ 2147483647 w 376"/>
                <a:gd name="T87" fmla="*/ 2147483647 h 46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76"/>
                <a:gd name="T133" fmla="*/ 0 h 462"/>
                <a:gd name="T134" fmla="*/ 376 w 376"/>
                <a:gd name="T135" fmla="*/ 462 h 46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76" h="462">
                  <a:moveTo>
                    <a:pt x="215" y="49"/>
                  </a:moveTo>
                  <a:lnTo>
                    <a:pt x="215" y="49"/>
                  </a:lnTo>
                  <a:lnTo>
                    <a:pt x="225" y="50"/>
                  </a:lnTo>
                  <a:lnTo>
                    <a:pt x="234" y="52"/>
                  </a:lnTo>
                  <a:lnTo>
                    <a:pt x="243" y="56"/>
                  </a:lnTo>
                  <a:lnTo>
                    <a:pt x="250" y="60"/>
                  </a:lnTo>
                  <a:lnTo>
                    <a:pt x="256" y="66"/>
                  </a:lnTo>
                  <a:lnTo>
                    <a:pt x="262" y="73"/>
                  </a:lnTo>
                  <a:lnTo>
                    <a:pt x="266" y="80"/>
                  </a:lnTo>
                  <a:lnTo>
                    <a:pt x="270" y="88"/>
                  </a:lnTo>
                  <a:lnTo>
                    <a:pt x="274" y="96"/>
                  </a:lnTo>
                  <a:lnTo>
                    <a:pt x="276" y="106"/>
                  </a:lnTo>
                  <a:lnTo>
                    <a:pt x="279" y="125"/>
                  </a:lnTo>
                  <a:lnTo>
                    <a:pt x="281" y="144"/>
                  </a:lnTo>
                  <a:lnTo>
                    <a:pt x="281" y="164"/>
                  </a:lnTo>
                  <a:lnTo>
                    <a:pt x="280" y="193"/>
                  </a:lnTo>
                  <a:lnTo>
                    <a:pt x="277" y="218"/>
                  </a:lnTo>
                  <a:lnTo>
                    <a:pt x="275" y="229"/>
                  </a:lnTo>
                  <a:lnTo>
                    <a:pt x="271" y="238"/>
                  </a:lnTo>
                  <a:lnTo>
                    <a:pt x="268" y="248"/>
                  </a:lnTo>
                  <a:lnTo>
                    <a:pt x="265" y="257"/>
                  </a:lnTo>
                  <a:lnTo>
                    <a:pt x="261" y="263"/>
                  </a:lnTo>
                  <a:lnTo>
                    <a:pt x="255" y="270"/>
                  </a:lnTo>
                  <a:lnTo>
                    <a:pt x="250" y="275"/>
                  </a:lnTo>
                  <a:lnTo>
                    <a:pt x="245" y="279"/>
                  </a:lnTo>
                  <a:lnTo>
                    <a:pt x="237" y="282"/>
                  </a:lnTo>
                  <a:lnTo>
                    <a:pt x="231" y="284"/>
                  </a:lnTo>
                  <a:lnTo>
                    <a:pt x="223" y="287"/>
                  </a:lnTo>
                  <a:lnTo>
                    <a:pt x="215" y="287"/>
                  </a:lnTo>
                  <a:lnTo>
                    <a:pt x="205" y="287"/>
                  </a:lnTo>
                  <a:lnTo>
                    <a:pt x="196" y="284"/>
                  </a:lnTo>
                  <a:lnTo>
                    <a:pt x="188" y="281"/>
                  </a:lnTo>
                  <a:lnTo>
                    <a:pt x="181" y="278"/>
                  </a:lnTo>
                  <a:lnTo>
                    <a:pt x="174" y="273"/>
                  </a:lnTo>
                  <a:lnTo>
                    <a:pt x="169" y="267"/>
                  </a:lnTo>
                  <a:lnTo>
                    <a:pt x="164" y="261"/>
                  </a:lnTo>
                  <a:lnTo>
                    <a:pt x="159" y="255"/>
                  </a:lnTo>
                  <a:lnTo>
                    <a:pt x="156" y="247"/>
                  </a:lnTo>
                  <a:lnTo>
                    <a:pt x="153" y="240"/>
                  </a:lnTo>
                  <a:lnTo>
                    <a:pt x="149" y="224"/>
                  </a:lnTo>
                  <a:lnTo>
                    <a:pt x="146" y="206"/>
                  </a:lnTo>
                  <a:lnTo>
                    <a:pt x="146" y="189"/>
                  </a:lnTo>
                  <a:lnTo>
                    <a:pt x="146" y="161"/>
                  </a:lnTo>
                  <a:lnTo>
                    <a:pt x="146" y="148"/>
                  </a:lnTo>
                  <a:lnTo>
                    <a:pt x="149" y="130"/>
                  </a:lnTo>
                  <a:lnTo>
                    <a:pt x="152" y="111"/>
                  </a:lnTo>
                  <a:lnTo>
                    <a:pt x="154" y="102"/>
                  </a:lnTo>
                  <a:lnTo>
                    <a:pt x="157" y="93"/>
                  </a:lnTo>
                  <a:lnTo>
                    <a:pt x="161" y="84"/>
                  </a:lnTo>
                  <a:lnTo>
                    <a:pt x="166" y="76"/>
                  </a:lnTo>
                  <a:lnTo>
                    <a:pt x="171" y="68"/>
                  </a:lnTo>
                  <a:lnTo>
                    <a:pt x="177" y="62"/>
                  </a:lnTo>
                  <a:lnTo>
                    <a:pt x="185" y="57"/>
                  </a:lnTo>
                  <a:lnTo>
                    <a:pt x="193" y="52"/>
                  </a:lnTo>
                  <a:lnTo>
                    <a:pt x="203" y="50"/>
                  </a:lnTo>
                  <a:lnTo>
                    <a:pt x="215" y="49"/>
                  </a:lnTo>
                  <a:close/>
                  <a:moveTo>
                    <a:pt x="239" y="1"/>
                  </a:moveTo>
                  <a:lnTo>
                    <a:pt x="239" y="1"/>
                  </a:lnTo>
                  <a:lnTo>
                    <a:pt x="228" y="2"/>
                  </a:lnTo>
                  <a:lnTo>
                    <a:pt x="215" y="4"/>
                  </a:lnTo>
                  <a:lnTo>
                    <a:pt x="203" y="7"/>
                  </a:lnTo>
                  <a:lnTo>
                    <a:pt x="191" y="13"/>
                  </a:lnTo>
                  <a:lnTo>
                    <a:pt x="180" y="19"/>
                  </a:lnTo>
                  <a:lnTo>
                    <a:pt x="169" y="27"/>
                  </a:lnTo>
                  <a:lnTo>
                    <a:pt x="158" y="36"/>
                  </a:lnTo>
                  <a:lnTo>
                    <a:pt x="147" y="46"/>
                  </a:lnTo>
                  <a:lnTo>
                    <a:pt x="147" y="0"/>
                  </a:lnTo>
                  <a:lnTo>
                    <a:pt x="140" y="1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3" y="51"/>
                  </a:lnTo>
                  <a:lnTo>
                    <a:pt x="42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462"/>
                  </a:lnTo>
                  <a:lnTo>
                    <a:pt x="146" y="462"/>
                  </a:lnTo>
                  <a:lnTo>
                    <a:pt x="146" y="297"/>
                  </a:lnTo>
                  <a:lnTo>
                    <a:pt x="153" y="305"/>
                  </a:lnTo>
                  <a:lnTo>
                    <a:pt x="160" y="311"/>
                  </a:lnTo>
                  <a:lnTo>
                    <a:pt x="169" y="318"/>
                  </a:lnTo>
                  <a:lnTo>
                    <a:pt x="180" y="324"/>
                  </a:lnTo>
                  <a:lnTo>
                    <a:pt x="190" y="328"/>
                  </a:lnTo>
                  <a:lnTo>
                    <a:pt x="204" y="332"/>
                  </a:lnTo>
                  <a:lnTo>
                    <a:pt x="219" y="334"/>
                  </a:lnTo>
                  <a:lnTo>
                    <a:pt x="236" y="335"/>
                  </a:lnTo>
                  <a:lnTo>
                    <a:pt x="253" y="335"/>
                  </a:lnTo>
                  <a:lnTo>
                    <a:pt x="268" y="333"/>
                  </a:lnTo>
                  <a:lnTo>
                    <a:pt x="283" y="328"/>
                  </a:lnTo>
                  <a:lnTo>
                    <a:pt x="297" y="324"/>
                  </a:lnTo>
                  <a:lnTo>
                    <a:pt x="309" y="318"/>
                  </a:lnTo>
                  <a:lnTo>
                    <a:pt x="321" y="310"/>
                  </a:lnTo>
                  <a:lnTo>
                    <a:pt x="331" y="302"/>
                  </a:lnTo>
                  <a:lnTo>
                    <a:pt x="341" y="291"/>
                  </a:lnTo>
                  <a:lnTo>
                    <a:pt x="348" y="280"/>
                  </a:lnTo>
                  <a:lnTo>
                    <a:pt x="356" y="267"/>
                  </a:lnTo>
                  <a:lnTo>
                    <a:pt x="362" y="252"/>
                  </a:lnTo>
                  <a:lnTo>
                    <a:pt x="368" y="237"/>
                  </a:lnTo>
                  <a:lnTo>
                    <a:pt x="371" y="220"/>
                  </a:lnTo>
                  <a:lnTo>
                    <a:pt x="374" y="203"/>
                  </a:lnTo>
                  <a:lnTo>
                    <a:pt x="375" y="184"/>
                  </a:lnTo>
                  <a:lnTo>
                    <a:pt x="376" y="164"/>
                  </a:lnTo>
                  <a:lnTo>
                    <a:pt x="375" y="144"/>
                  </a:lnTo>
                  <a:lnTo>
                    <a:pt x="374" y="127"/>
                  </a:lnTo>
                  <a:lnTo>
                    <a:pt x="371" y="110"/>
                  </a:lnTo>
                  <a:lnTo>
                    <a:pt x="367" y="94"/>
                  </a:lnTo>
                  <a:lnTo>
                    <a:pt x="362" y="80"/>
                  </a:lnTo>
                  <a:lnTo>
                    <a:pt x="356" y="66"/>
                  </a:lnTo>
                  <a:lnTo>
                    <a:pt x="348" y="55"/>
                  </a:lnTo>
                  <a:lnTo>
                    <a:pt x="340" y="44"/>
                  </a:lnTo>
                  <a:lnTo>
                    <a:pt x="331" y="34"/>
                  </a:lnTo>
                  <a:lnTo>
                    <a:pt x="321" y="26"/>
                  </a:lnTo>
                  <a:lnTo>
                    <a:pt x="310" y="18"/>
                  </a:lnTo>
                  <a:lnTo>
                    <a:pt x="297" y="12"/>
                  </a:lnTo>
                  <a:lnTo>
                    <a:pt x="284" y="7"/>
                  </a:lnTo>
                  <a:lnTo>
                    <a:pt x="270" y="4"/>
                  </a:lnTo>
                  <a:lnTo>
                    <a:pt x="255" y="2"/>
                  </a:lnTo>
                  <a:lnTo>
                    <a:pt x="239" y="1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2" name="Freeform 27">
              <a:extLst>
                <a:ext uri="{FF2B5EF4-FFF2-40B4-BE49-F238E27FC236}">
                  <a16:creationId xmlns:a16="http://schemas.microsoft.com/office/drawing/2014/main" id="{E8D74A95-F2D5-4207-956D-C8852E2273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65505" y="433812"/>
              <a:ext cx="31578" cy="72583"/>
            </a:xfrm>
            <a:custGeom>
              <a:avLst/>
              <a:gdLst>
                <a:gd name="T0" fmla="*/ 0 w 145"/>
                <a:gd name="T1" fmla="*/ 2147483647 h 327"/>
                <a:gd name="T2" fmla="*/ 0 w 145"/>
                <a:gd name="T3" fmla="*/ 2147483647 h 327"/>
                <a:gd name="T4" fmla="*/ 2147483647 w 145"/>
                <a:gd name="T5" fmla="*/ 2147483647 h 327"/>
                <a:gd name="T6" fmla="*/ 2147483647 w 145"/>
                <a:gd name="T7" fmla="*/ 2147483647 h 327"/>
                <a:gd name="T8" fmla="*/ 2147483647 w 145"/>
                <a:gd name="T9" fmla="*/ 2147483647 h 327"/>
                <a:gd name="T10" fmla="*/ 2147483647 w 145"/>
                <a:gd name="T11" fmla="*/ 2147483647 h 327"/>
                <a:gd name="T12" fmla="*/ 2147483647 w 145"/>
                <a:gd name="T13" fmla="*/ 2147483647 h 327"/>
                <a:gd name="T14" fmla="*/ 2147483647 w 145"/>
                <a:gd name="T15" fmla="*/ 2147483647 h 327"/>
                <a:gd name="T16" fmla="*/ 2147483647 w 145"/>
                <a:gd name="T17" fmla="*/ 2147483647 h 327"/>
                <a:gd name="T18" fmla="*/ 2147483647 w 145"/>
                <a:gd name="T19" fmla="*/ 2147483647 h 327"/>
                <a:gd name="T20" fmla="*/ 2147483647 w 145"/>
                <a:gd name="T21" fmla="*/ 2147483647 h 327"/>
                <a:gd name="T22" fmla="*/ 2147483647 w 145"/>
                <a:gd name="T23" fmla="*/ 2147483647 h 327"/>
                <a:gd name="T24" fmla="*/ 2147483647 w 145"/>
                <a:gd name="T25" fmla="*/ 2147483647 h 327"/>
                <a:gd name="T26" fmla="*/ 2147483647 w 145"/>
                <a:gd name="T27" fmla="*/ 2147483647 h 327"/>
                <a:gd name="T28" fmla="*/ 2147483647 w 145"/>
                <a:gd name="T29" fmla="*/ 2147483647 h 327"/>
                <a:gd name="T30" fmla="*/ 2147483647 w 145"/>
                <a:gd name="T31" fmla="*/ 2147483647 h 327"/>
                <a:gd name="T32" fmla="*/ 2147483647 w 145"/>
                <a:gd name="T33" fmla="*/ 0 h 327"/>
                <a:gd name="T34" fmla="*/ 2147483647 w 145"/>
                <a:gd name="T35" fmla="*/ 2147483647 h 327"/>
                <a:gd name="T36" fmla="*/ 0 w 145"/>
                <a:gd name="T37" fmla="*/ 2147483647 h 32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327"/>
                <a:gd name="T59" fmla="*/ 145 w 145"/>
                <a:gd name="T60" fmla="*/ 327 h 32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327">
                  <a:moveTo>
                    <a:pt x="0" y="24"/>
                  </a:moveTo>
                  <a:lnTo>
                    <a:pt x="0" y="48"/>
                  </a:lnTo>
                  <a:lnTo>
                    <a:pt x="6" y="48"/>
                  </a:lnTo>
                  <a:lnTo>
                    <a:pt x="21" y="49"/>
                  </a:lnTo>
                  <a:lnTo>
                    <a:pt x="32" y="51"/>
                  </a:lnTo>
                  <a:lnTo>
                    <a:pt x="42" y="55"/>
                  </a:lnTo>
                  <a:lnTo>
                    <a:pt x="45" y="57"/>
                  </a:lnTo>
                  <a:lnTo>
                    <a:pt x="48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7" y="75"/>
                  </a:lnTo>
                  <a:lnTo>
                    <a:pt x="58" y="87"/>
                  </a:lnTo>
                  <a:lnTo>
                    <a:pt x="58" y="101"/>
                  </a:lnTo>
                  <a:lnTo>
                    <a:pt x="58" y="327"/>
                  </a:lnTo>
                  <a:lnTo>
                    <a:pt x="145" y="327"/>
                  </a:lnTo>
                  <a:lnTo>
                    <a:pt x="145" y="0"/>
                  </a:lnTo>
                  <a:lnTo>
                    <a:pt x="139" y="1"/>
                  </a:lnTo>
                  <a:lnTo>
                    <a:pt x="0" y="2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3" name="Freeform 29">
              <a:extLst>
                <a:ext uri="{FF2B5EF4-FFF2-40B4-BE49-F238E27FC236}">
                  <a16:creationId xmlns:a16="http://schemas.microsoft.com/office/drawing/2014/main" id="{A7208A05-AB67-46E7-A536-07BCA782DA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6031" y="404207"/>
              <a:ext cx="23923" cy="21966"/>
            </a:xfrm>
            <a:custGeom>
              <a:avLst/>
              <a:gdLst>
                <a:gd name="T0" fmla="*/ 2147483647 w 108"/>
                <a:gd name="T1" fmla="*/ 2147483647 h 96"/>
                <a:gd name="T2" fmla="*/ 2147483647 w 108"/>
                <a:gd name="T3" fmla="*/ 2147483647 h 96"/>
                <a:gd name="T4" fmla="*/ 2147483647 w 108"/>
                <a:gd name="T5" fmla="*/ 2147483647 h 96"/>
                <a:gd name="T6" fmla="*/ 2147483647 w 108"/>
                <a:gd name="T7" fmla="*/ 2147483647 h 96"/>
                <a:gd name="T8" fmla="*/ 2147483647 w 108"/>
                <a:gd name="T9" fmla="*/ 2147483647 h 96"/>
                <a:gd name="T10" fmla="*/ 2147483647 w 108"/>
                <a:gd name="T11" fmla="*/ 2147483647 h 96"/>
                <a:gd name="T12" fmla="*/ 2147483647 w 108"/>
                <a:gd name="T13" fmla="*/ 2147483647 h 96"/>
                <a:gd name="T14" fmla="*/ 2147483647 w 108"/>
                <a:gd name="T15" fmla="*/ 2147483647 h 96"/>
                <a:gd name="T16" fmla="*/ 2147483647 w 108"/>
                <a:gd name="T17" fmla="*/ 2147483647 h 96"/>
                <a:gd name="T18" fmla="*/ 2147483647 w 108"/>
                <a:gd name="T19" fmla="*/ 2147483647 h 96"/>
                <a:gd name="T20" fmla="*/ 2147483647 w 108"/>
                <a:gd name="T21" fmla="*/ 2147483647 h 96"/>
                <a:gd name="T22" fmla="*/ 2147483647 w 108"/>
                <a:gd name="T23" fmla="*/ 2147483647 h 96"/>
                <a:gd name="T24" fmla="*/ 2147483647 w 108"/>
                <a:gd name="T25" fmla="*/ 2147483647 h 96"/>
                <a:gd name="T26" fmla="*/ 2147483647 w 108"/>
                <a:gd name="T27" fmla="*/ 2147483647 h 96"/>
                <a:gd name="T28" fmla="*/ 2147483647 w 108"/>
                <a:gd name="T29" fmla="*/ 2147483647 h 96"/>
                <a:gd name="T30" fmla="*/ 2147483647 w 108"/>
                <a:gd name="T31" fmla="*/ 2147483647 h 96"/>
                <a:gd name="T32" fmla="*/ 2147483647 w 108"/>
                <a:gd name="T33" fmla="*/ 2147483647 h 96"/>
                <a:gd name="T34" fmla="*/ 2147483647 w 108"/>
                <a:gd name="T35" fmla="*/ 2147483647 h 96"/>
                <a:gd name="T36" fmla="*/ 2147483647 w 108"/>
                <a:gd name="T37" fmla="*/ 0 h 96"/>
                <a:gd name="T38" fmla="*/ 2147483647 w 108"/>
                <a:gd name="T39" fmla="*/ 0 h 96"/>
                <a:gd name="T40" fmla="*/ 2147483647 w 108"/>
                <a:gd name="T41" fmla="*/ 2147483647 h 96"/>
                <a:gd name="T42" fmla="*/ 2147483647 w 108"/>
                <a:gd name="T43" fmla="*/ 2147483647 h 96"/>
                <a:gd name="T44" fmla="*/ 2147483647 w 108"/>
                <a:gd name="T45" fmla="*/ 2147483647 h 96"/>
                <a:gd name="T46" fmla="*/ 2147483647 w 108"/>
                <a:gd name="T47" fmla="*/ 2147483647 h 96"/>
                <a:gd name="T48" fmla="*/ 2147483647 w 108"/>
                <a:gd name="T49" fmla="*/ 2147483647 h 96"/>
                <a:gd name="T50" fmla="*/ 2147483647 w 108"/>
                <a:gd name="T51" fmla="*/ 2147483647 h 96"/>
                <a:gd name="T52" fmla="*/ 2147483647 w 108"/>
                <a:gd name="T53" fmla="*/ 2147483647 h 96"/>
                <a:gd name="T54" fmla="*/ 0 w 108"/>
                <a:gd name="T55" fmla="*/ 2147483647 h 96"/>
                <a:gd name="T56" fmla="*/ 0 w 108"/>
                <a:gd name="T57" fmla="*/ 2147483647 h 96"/>
                <a:gd name="T58" fmla="*/ 2147483647 w 108"/>
                <a:gd name="T59" fmla="*/ 2147483647 h 96"/>
                <a:gd name="T60" fmla="*/ 2147483647 w 108"/>
                <a:gd name="T61" fmla="*/ 2147483647 h 96"/>
                <a:gd name="T62" fmla="*/ 2147483647 w 108"/>
                <a:gd name="T63" fmla="*/ 2147483647 h 96"/>
                <a:gd name="T64" fmla="*/ 2147483647 w 108"/>
                <a:gd name="T65" fmla="*/ 2147483647 h 96"/>
                <a:gd name="T66" fmla="*/ 2147483647 w 108"/>
                <a:gd name="T67" fmla="*/ 2147483647 h 96"/>
                <a:gd name="T68" fmla="*/ 2147483647 w 108"/>
                <a:gd name="T69" fmla="*/ 2147483647 h 96"/>
                <a:gd name="T70" fmla="*/ 2147483647 w 108"/>
                <a:gd name="T71" fmla="*/ 2147483647 h 96"/>
                <a:gd name="T72" fmla="*/ 2147483647 w 108"/>
                <a:gd name="T73" fmla="*/ 2147483647 h 9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08"/>
                <a:gd name="T112" fmla="*/ 0 h 96"/>
                <a:gd name="T113" fmla="*/ 108 w 108"/>
                <a:gd name="T114" fmla="*/ 96 h 9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08" h="96">
                  <a:moveTo>
                    <a:pt x="53" y="96"/>
                  </a:moveTo>
                  <a:lnTo>
                    <a:pt x="53" y="96"/>
                  </a:lnTo>
                  <a:lnTo>
                    <a:pt x="63" y="94"/>
                  </a:lnTo>
                  <a:lnTo>
                    <a:pt x="74" y="92"/>
                  </a:lnTo>
                  <a:lnTo>
                    <a:pt x="84" y="88"/>
                  </a:lnTo>
                  <a:lnTo>
                    <a:pt x="91" y="82"/>
                  </a:lnTo>
                  <a:lnTo>
                    <a:pt x="99" y="74"/>
                  </a:lnTo>
                  <a:lnTo>
                    <a:pt x="103" y="67"/>
                  </a:lnTo>
                  <a:lnTo>
                    <a:pt x="106" y="57"/>
                  </a:lnTo>
                  <a:lnTo>
                    <a:pt x="108" y="47"/>
                  </a:lnTo>
                  <a:lnTo>
                    <a:pt x="107" y="39"/>
                  </a:lnTo>
                  <a:lnTo>
                    <a:pt x="104" y="29"/>
                  </a:lnTo>
                  <a:lnTo>
                    <a:pt x="99" y="22"/>
                  </a:lnTo>
                  <a:lnTo>
                    <a:pt x="92" y="14"/>
                  </a:lnTo>
                  <a:lnTo>
                    <a:pt x="84" y="9"/>
                  </a:lnTo>
                  <a:lnTo>
                    <a:pt x="74" y="5"/>
                  </a:lnTo>
                  <a:lnTo>
                    <a:pt x="64" y="1"/>
                  </a:lnTo>
                  <a:lnTo>
                    <a:pt x="54" y="0"/>
                  </a:lnTo>
                  <a:lnTo>
                    <a:pt x="43" y="1"/>
                  </a:lnTo>
                  <a:lnTo>
                    <a:pt x="32" y="5"/>
                  </a:lnTo>
                  <a:lnTo>
                    <a:pt x="24" y="9"/>
                  </a:lnTo>
                  <a:lnTo>
                    <a:pt x="15" y="14"/>
                  </a:lnTo>
                  <a:lnTo>
                    <a:pt x="9" y="22"/>
                  </a:lnTo>
                  <a:lnTo>
                    <a:pt x="5" y="29"/>
                  </a:lnTo>
                  <a:lnTo>
                    <a:pt x="1" y="39"/>
                  </a:lnTo>
                  <a:lnTo>
                    <a:pt x="0" y="47"/>
                  </a:lnTo>
                  <a:lnTo>
                    <a:pt x="1" y="57"/>
                  </a:lnTo>
                  <a:lnTo>
                    <a:pt x="5" y="67"/>
                  </a:lnTo>
                  <a:lnTo>
                    <a:pt x="9" y="74"/>
                  </a:lnTo>
                  <a:lnTo>
                    <a:pt x="15" y="82"/>
                  </a:lnTo>
                  <a:lnTo>
                    <a:pt x="23" y="88"/>
                  </a:lnTo>
                  <a:lnTo>
                    <a:pt x="32" y="92"/>
                  </a:lnTo>
                  <a:lnTo>
                    <a:pt x="42" y="94"/>
                  </a:lnTo>
                  <a:lnTo>
                    <a:pt x="53" y="96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4" name="Freeform 31">
              <a:extLst>
                <a:ext uri="{FF2B5EF4-FFF2-40B4-BE49-F238E27FC236}">
                  <a16:creationId xmlns:a16="http://schemas.microsoft.com/office/drawing/2014/main" id="{E778B27B-0965-4D9E-B768-E9670C39FE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5265" y="433812"/>
              <a:ext cx="62200" cy="72583"/>
            </a:xfrm>
            <a:custGeom>
              <a:avLst/>
              <a:gdLst>
                <a:gd name="T0" fmla="*/ 2147483647 w 282"/>
                <a:gd name="T1" fmla="*/ 2147483647 h 327"/>
                <a:gd name="T2" fmla="*/ 2147483647 w 282"/>
                <a:gd name="T3" fmla="*/ 2147483647 h 327"/>
                <a:gd name="T4" fmla="*/ 2147483647 w 282"/>
                <a:gd name="T5" fmla="*/ 2147483647 h 327"/>
                <a:gd name="T6" fmla="*/ 2147483647 w 282"/>
                <a:gd name="T7" fmla="*/ 2147483647 h 327"/>
                <a:gd name="T8" fmla="*/ 2147483647 w 282"/>
                <a:gd name="T9" fmla="*/ 2147483647 h 327"/>
                <a:gd name="T10" fmla="*/ 2147483647 w 282"/>
                <a:gd name="T11" fmla="*/ 2147483647 h 327"/>
                <a:gd name="T12" fmla="*/ 2147483647 w 282"/>
                <a:gd name="T13" fmla="*/ 2147483647 h 327"/>
                <a:gd name="T14" fmla="*/ 2147483647 w 282"/>
                <a:gd name="T15" fmla="*/ 2147483647 h 327"/>
                <a:gd name="T16" fmla="*/ 2147483647 w 282"/>
                <a:gd name="T17" fmla="*/ 2147483647 h 327"/>
                <a:gd name="T18" fmla="*/ 2147483647 w 282"/>
                <a:gd name="T19" fmla="*/ 2147483647 h 327"/>
                <a:gd name="T20" fmla="*/ 2147483647 w 282"/>
                <a:gd name="T21" fmla="*/ 2147483647 h 327"/>
                <a:gd name="T22" fmla="*/ 2147483647 w 282"/>
                <a:gd name="T23" fmla="*/ 2147483647 h 327"/>
                <a:gd name="T24" fmla="*/ 2147483647 w 282"/>
                <a:gd name="T25" fmla="*/ 2147483647 h 327"/>
                <a:gd name="T26" fmla="*/ 2147483647 w 282"/>
                <a:gd name="T27" fmla="*/ 2147483647 h 327"/>
                <a:gd name="T28" fmla="*/ 2147483647 w 282"/>
                <a:gd name="T29" fmla="*/ 2147483647 h 327"/>
                <a:gd name="T30" fmla="*/ 2147483647 w 282"/>
                <a:gd name="T31" fmla="*/ 2147483647 h 327"/>
                <a:gd name="T32" fmla="*/ 2147483647 w 282"/>
                <a:gd name="T33" fmla="*/ 2147483647 h 327"/>
                <a:gd name="T34" fmla="*/ 2147483647 w 282"/>
                <a:gd name="T35" fmla="*/ 2147483647 h 327"/>
                <a:gd name="T36" fmla="*/ 2147483647 w 282"/>
                <a:gd name="T37" fmla="*/ 2147483647 h 327"/>
                <a:gd name="T38" fmla="*/ 2147483647 w 282"/>
                <a:gd name="T39" fmla="*/ 0 h 327"/>
                <a:gd name="T40" fmla="*/ 0 w 282"/>
                <a:gd name="T41" fmla="*/ 2147483647 h 327"/>
                <a:gd name="T42" fmla="*/ 0 w 282"/>
                <a:gd name="T43" fmla="*/ 2147483647 h 327"/>
                <a:gd name="T44" fmla="*/ 2147483647 w 282"/>
                <a:gd name="T45" fmla="*/ 2147483647 h 327"/>
                <a:gd name="T46" fmla="*/ 2147483647 w 282"/>
                <a:gd name="T47" fmla="*/ 2147483647 h 327"/>
                <a:gd name="T48" fmla="*/ 2147483647 w 282"/>
                <a:gd name="T49" fmla="*/ 2147483647 h 327"/>
                <a:gd name="T50" fmla="*/ 2147483647 w 282"/>
                <a:gd name="T51" fmla="*/ 2147483647 h 327"/>
                <a:gd name="T52" fmla="*/ 2147483647 w 282"/>
                <a:gd name="T53" fmla="*/ 2147483647 h 327"/>
                <a:gd name="T54" fmla="*/ 2147483647 w 282"/>
                <a:gd name="T55" fmla="*/ 2147483647 h 327"/>
                <a:gd name="T56" fmla="*/ 2147483647 w 282"/>
                <a:gd name="T57" fmla="*/ 2147483647 h 327"/>
                <a:gd name="T58" fmla="*/ 2147483647 w 282"/>
                <a:gd name="T59" fmla="*/ 2147483647 h 327"/>
                <a:gd name="T60" fmla="*/ 2147483647 w 282"/>
                <a:gd name="T61" fmla="*/ 2147483647 h 327"/>
                <a:gd name="T62" fmla="*/ 2147483647 w 282"/>
                <a:gd name="T63" fmla="*/ 2147483647 h 327"/>
                <a:gd name="T64" fmla="*/ 2147483647 w 282"/>
                <a:gd name="T65" fmla="*/ 2147483647 h 327"/>
                <a:gd name="T66" fmla="*/ 2147483647 w 282"/>
                <a:gd name="T67" fmla="*/ 2147483647 h 327"/>
                <a:gd name="T68" fmla="*/ 2147483647 w 282"/>
                <a:gd name="T69" fmla="*/ 2147483647 h 327"/>
                <a:gd name="T70" fmla="*/ 2147483647 w 282"/>
                <a:gd name="T71" fmla="*/ 2147483647 h 327"/>
                <a:gd name="T72" fmla="*/ 2147483647 w 282"/>
                <a:gd name="T73" fmla="*/ 2147483647 h 327"/>
                <a:gd name="T74" fmla="*/ 2147483647 w 282"/>
                <a:gd name="T75" fmla="*/ 2147483647 h 327"/>
                <a:gd name="T76" fmla="*/ 2147483647 w 282"/>
                <a:gd name="T77" fmla="*/ 2147483647 h 327"/>
                <a:gd name="T78" fmla="*/ 2147483647 w 282"/>
                <a:gd name="T79" fmla="*/ 2147483647 h 327"/>
                <a:gd name="T80" fmla="*/ 2147483647 w 282"/>
                <a:gd name="T81" fmla="*/ 2147483647 h 327"/>
                <a:gd name="T82" fmla="*/ 2147483647 w 282"/>
                <a:gd name="T83" fmla="*/ 2147483647 h 327"/>
                <a:gd name="T84" fmla="*/ 2147483647 w 282"/>
                <a:gd name="T85" fmla="*/ 2147483647 h 327"/>
                <a:gd name="T86" fmla="*/ 2147483647 w 282"/>
                <a:gd name="T87" fmla="*/ 2147483647 h 327"/>
                <a:gd name="T88" fmla="*/ 2147483647 w 282"/>
                <a:gd name="T89" fmla="*/ 2147483647 h 327"/>
                <a:gd name="T90" fmla="*/ 2147483647 w 282"/>
                <a:gd name="T91" fmla="*/ 2147483647 h 327"/>
                <a:gd name="T92" fmla="*/ 2147483647 w 282"/>
                <a:gd name="T93" fmla="*/ 2147483647 h 327"/>
                <a:gd name="T94" fmla="*/ 2147483647 w 282"/>
                <a:gd name="T95" fmla="*/ 2147483647 h 327"/>
                <a:gd name="T96" fmla="*/ 2147483647 w 282"/>
                <a:gd name="T97" fmla="*/ 2147483647 h 327"/>
                <a:gd name="T98" fmla="*/ 2147483647 w 282"/>
                <a:gd name="T99" fmla="*/ 2147483647 h 327"/>
                <a:gd name="T100" fmla="*/ 2147483647 w 282"/>
                <a:gd name="T101" fmla="*/ 2147483647 h 327"/>
                <a:gd name="T102" fmla="*/ 2147483647 w 282"/>
                <a:gd name="T103" fmla="*/ 2147483647 h 327"/>
                <a:gd name="T104" fmla="*/ 2147483647 w 282"/>
                <a:gd name="T105" fmla="*/ 2147483647 h 327"/>
                <a:gd name="T106" fmla="*/ 2147483647 w 282"/>
                <a:gd name="T107" fmla="*/ 2147483647 h 327"/>
                <a:gd name="T108" fmla="*/ 2147483647 w 282"/>
                <a:gd name="T109" fmla="*/ 2147483647 h 327"/>
                <a:gd name="T110" fmla="*/ 2147483647 w 282"/>
                <a:gd name="T111" fmla="*/ 2147483647 h 327"/>
                <a:gd name="T112" fmla="*/ 2147483647 w 282"/>
                <a:gd name="T113" fmla="*/ 2147483647 h 327"/>
                <a:gd name="T114" fmla="*/ 2147483647 w 282"/>
                <a:gd name="T115" fmla="*/ 2147483647 h 327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82"/>
                <a:gd name="T175" fmla="*/ 0 h 327"/>
                <a:gd name="T176" fmla="*/ 282 w 282"/>
                <a:gd name="T177" fmla="*/ 327 h 327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82" h="327">
                  <a:moveTo>
                    <a:pt x="282" y="74"/>
                  </a:moveTo>
                  <a:lnTo>
                    <a:pt x="282" y="5"/>
                  </a:lnTo>
                  <a:lnTo>
                    <a:pt x="277" y="4"/>
                  </a:lnTo>
                  <a:lnTo>
                    <a:pt x="256" y="2"/>
                  </a:lnTo>
                  <a:lnTo>
                    <a:pt x="236" y="1"/>
                  </a:lnTo>
                  <a:lnTo>
                    <a:pt x="226" y="2"/>
                  </a:lnTo>
                  <a:lnTo>
                    <a:pt x="218" y="3"/>
                  </a:lnTo>
                  <a:lnTo>
                    <a:pt x="210" y="5"/>
                  </a:lnTo>
                  <a:lnTo>
                    <a:pt x="203" y="7"/>
                  </a:lnTo>
                  <a:lnTo>
                    <a:pt x="195" y="11"/>
                  </a:lnTo>
                  <a:lnTo>
                    <a:pt x="189" y="14"/>
                  </a:lnTo>
                  <a:lnTo>
                    <a:pt x="177" y="24"/>
                  </a:lnTo>
                  <a:lnTo>
                    <a:pt x="168" y="33"/>
                  </a:lnTo>
                  <a:lnTo>
                    <a:pt x="159" y="44"/>
                  </a:lnTo>
                  <a:lnTo>
                    <a:pt x="152" y="56"/>
                  </a:lnTo>
                  <a:lnTo>
                    <a:pt x="146" y="66"/>
                  </a:lnTo>
                  <a:lnTo>
                    <a:pt x="146" y="0"/>
                  </a:lnTo>
                  <a:lnTo>
                    <a:pt x="0" y="24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20" y="49"/>
                  </a:lnTo>
                  <a:lnTo>
                    <a:pt x="33" y="51"/>
                  </a:lnTo>
                  <a:lnTo>
                    <a:pt x="41" y="55"/>
                  </a:lnTo>
                  <a:lnTo>
                    <a:pt x="46" y="57"/>
                  </a:lnTo>
                  <a:lnTo>
                    <a:pt x="49" y="59"/>
                  </a:lnTo>
                  <a:lnTo>
                    <a:pt x="51" y="62"/>
                  </a:lnTo>
                  <a:lnTo>
                    <a:pt x="53" y="65"/>
                  </a:lnTo>
                  <a:lnTo>
                    <a:pt x="56" y="75"/>
                  </a:lnTo>
                  <a:lnTo>
                    <a:pt x="59" y="87"/>
                  </a:lnTo>
                  <a:lnTo>
                    <a:pt x="59" y="101"/>
                  </a:lnTo>
                  <a:lnTo>
                    <a:pt x="59" y="327"/>
                  </a:lnTo>
                  <a:lnTo>
                    <a:pt x="146" y="327"/>
                  </a:lnTo>
                  <a:lnTo>
                    <a:pt x="146" y="164"/>
                  </a:lnTo>
                  <a:lnTo>
                    <a:pt x="147" y="152"/>
                  </a:lnTo>
                  <a:lnTo>
                    <a:pt x="149" y="138"/>
                  </a:lnTo>
                  <a:lnTo>
                    <a:pt x="150" y="130"/>
                  </a:lnTo>
                  <a:lnTo>
                    <a:pt x="154" y="123"/>
                  </a:lnTo>
                  <a:lnTo>
                    <a:pt x="157" y="116"/>
                  </a:lnTo>
                  <a:lnTo>
                    <a:pt x="161" y="108"/>
                  </a:lnTo>
                  <a:lnTo>
                    <a:pt x="167" y="101"/>
                  </a:lnTo>
                  <a:lnTo>
                    <a:pt x="173" y="94"/>
                  </a:lnTo>
                  <a:lnTo>
                    <a:pt x="180" y="88"/>
                  </a:lnTo>
                  <a:lnTo>
                    <a:pt x="189" y="82"/>
                  </a:lnTo>
                  <a:lnTo>
                    <a:pt x="199" y="78"/>
                  </a:lnTo>
                  <a:lnTo>
                    <a:pt x="210" y="75"/>
                  </a:lnTo>
                  <a:lnTo>
                    <a:pt x="223" y="73"/>
                  </a:lnTo>
                  <a:lnTo>
                    <a:pt x="238" y="72"/>
                  </a:lnTo>
                  <a:lnTo>
                    <a:pt x="246" y="73"/>
                  </a:lnTo>
                  <a:lnTo>
                    <a:pt x="253" y="74"/>
                  </a:lnTo>
                  <a:lnTo>
                    <a:pt x="268" y="78"/>
                  </a:lnTo>
                  <a:lnTo>
                    <a:pt x="282" y="81"/>
                  </a:lnTo>
                  <a:lnTo>
                    <a:pt x="282" y="7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5" name="Freeform 33">
              <a:extLst>
                <a:ext uri="{FF2B5EF4-FFF2-40B4-BE49-F238E27FC236}">
                  <a16:creationId xmlns:a16="http://schemas.microsoft.com/office/drawing/2014/main" id="{2EAA16CD-A173-4DF9-8E4F-D129CCA6213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886077" y="434767"/>
              <a:ext cx="68898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1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6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2" y="100"/>
                  </a:lnTo>
                  <a:lnTo>
                    <a:pt x="95" y="100"/>
                  </a:lnTo>
                  <a:lnTo>
                    <a:pt x="98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5" y="38"/>
                  </a:lnTo>
                  <a:lnTo>
                    <a:pt x="152" y="35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3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5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4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1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8" y="331"/>
                  </a:lnTo>
                  <a:lnTo>
                    <a:pt x="169" y="333"/>
                  </a:lnTo>
                  <a:lnTo>
                    <a:pt x="191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5"/>
                  </a:lnTo>
                  <a:lnTo>
                    <a:pt x="226" y="286"/>
                  </a:lnTo>
                  <a:lnTo>
                    <a:pt x="209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5"/>
                  </a:lnTo>
                  <a:lnTo>
                    <a:pt x="145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4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7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6" name="Freeform 36">
              <a:extLst>
                <a:ext uri="{FF2B5EF4-FFF2-40B4-BE49-F238E27FC236}">
                  <a16:creationId xmlns:a16="http://schemas.microsoft.com/office/drawing/2014/main" id="{A459398A-7DBD-4DA3-B2E7-B0E679AED20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1721" y="401341"/>
              <a:ext cx="80382" cy="105054"/>
            </a:xfrm>
            <a:custGeom>
              <a:avLst/>
              <a:gdLst>
                <a:gd name="T0" fmla="*/ 2147483647 w 365"/>
                <a:gd name="T1" fmla="*/ 2147483647 h 475"/>
                <a:gd name="T2" fmla="*/ 2147483647 w 365"/>
                <a:gd name="T3" fmla="*/ 2147483647 h 475"/>
                <a:gd name="T4" fmla="*/ 2147483647 w 365"/>
                <a:gd name="T5" fmla="*/ 2147483647 h 475"/>
                <a:gd name="T6" fmla="*/ 2147483647 w 365"/>
                <a:gd name="T7" fmla="*/ 2147483647 h 475"/>
                <a:gd name="T8" fmla="*/ 2147483647 w 365"/>
                <a:gd name="T9" fmla="*/ 2147483647 h 475"/>
                <a:gd name="T10" fmla="*/ 2147483647 w 365"/>
                <a:gd name="T11" fmla="*/ 2147483647 h 475"/>
                <a:gd name="T12" fmla="*/ 2147483647 w 365"/>
                <a:gd name="T13" fmla="*/ 2147483647 h 475"/>
                <a:gd name="T14" fmla="*/ 2147483647 w 365"/>
                <a:gd name="T15" fmla="*/ 0 h 475"/>
                <a:gd name="T16" fmla="*/ 0 w 365"/>
                <a:gd name="T17" fmla="*/ 2147483647 h 475"/>
                <a:gd name="T18" fmla="*/ 2147483647 w 365"/>
                <a:gd name="T19" fmla="*/ 2147483647 h 475"/>
                <a:gd name="T20" fmla="*/ 2147483647 w 365"/>
                <a:gd name="T21" fmla="*/ 2147483647 h 475"/>
                <a:gd name="T22" fmla="*/ 2147483647 w 365"/>
                <a:gd name="T23" fmla="*/ 2147483647 h 475"/>
                <a:gd name="T24" fmla="*/ 2147483647 w 365"/>
                <a:gd name="T25" fmla="*/ 2147483647 h 475"/>
                <a:gd name="T26" fmla="*/ 2147483647 w 365"/>
                <a:gd name="T27" fmla="*/ 2147483647 h 475"/>
                <a:gd name="T28" fmla="*/ 2147483647 w 365"/>
                <a:gd name="T29" fmla="*/ 2147483647 h 475"/>
                <a:gd name="T30" fmla="*/ 2147483647 w 365"/>
                <a:gd name="T31" fmla="*/ 2147483647 h 475"/>
                <a:gd name="T32" fmla="*/ 2147483647 w 365"/>
                <a:gd name="T33" fmla="*/ 2147483647 h 475"/>
                <a:gd name="T34" fmla="*/ 2147483647 w 365"/>
                <a:gd name="T35" fmla="*/ 2147483647 h 475"/>
                <a:gd name="T36" fmla="*/ 2147483647 w 365"/>
                <a:gd name="T37" fmla="*/ 2147483647 h 475"/>
                <a:gd name="T38" fmla="*/ 2147483647 w 365"/>
                <a:gd name="T39" fmla="*/ 2147483647 h 475"/>
                <a:gd name="T40" fmla="*/ 2147483647 w 365"/>
                <a:gd name="T41" fmla="*/ 2147483647 h 475"/>
                <a:gd name="T42" fmla="*/ 2147483647 w 365"/>
                <a:gd name="T43" fmla="*/ 2147483647 h 475"/>
                <a:gd name="T44" fmla="*/ 2147483647 w 365"/>
                <a:gd name="T45" fmla="*/ 2147483647 h 475"/>
                <a:gd name="T46" fmla="*/ 2147483647 w 365"/>
                <a:gd name="T47" fmla="*/ 2147483647 h 475"/>
                <a:gd name="T48" fmla="*/ 2147483647 w 365"/>
                <a:gd name="T49" fmla="*/ 2147483647 h 475"/>
                <a:gd name="T50" fmla="*/ 2147483647 w 365"/>
                <a:gd name="T51" fmla="*/ 2147483647 h 475"/>
                <a:gd name="T52" fmla="*/ 2147483647 w 365"/>
                <a:gd name="T53" fmla="*/ 2147483647 h 475"/>
                <a:gd name="T54" fmla="*/ 2147483647 w 365"/>
                <a:gd name="T55" fmla="*/ 2147483647 h 475"/>
                <a:gd name="T56" fmla="*/ 2147483647 w 365"/>
                <a:gd name="T57" fmla="*/ 2147483647 h 475"/>
                <a:gd name="T58" fmla="*/ 2147483647 w 365"/>
                <a:gd name="T59" fmla="*/ 2147483647 h 475"/>
                <a:gd name="T60" fmla="*/ 2147483647 w 365"/>
                <a:gd name="T61" fmla="*/ 2147483647 h 475"/>
                <a:gd name="T62" fmla="*/ 2147483647 w 365"/>
                <a:gd name="T63" fmla="*/ 2147483647 h 475"/>
                <a:gd name="T64" fmla="*/ 2147483647 w 365"/>
                <a:gd name="T65" fmla="*/ 2147483647 h 475"/>
                <a:gd name="T66" fmla="*/ 2147483647 w 365"/>
                <a:gd name="T67" fmla="*/ 2147483647 h 475"/>
                <a:gd name="T68" fmla="*/ 2147483647 w 365"/>
                <a:gd name="T69" fmla="*/ 2147483647 h 475"/>
                <a:gd name="T70" fmla="*/ 2147483647 w 365"/>
                <a:gd name="T71" fmla="*/ 2147483647 h 475"/>
                <a:gd name="T72" fmla="*/ 2147483647 w 365"/>
                <a:gd name="T73" fmla="*/ 2147483647 h 475"/>
                <a:gd name="T74" fmla="*/ 2147483647 w 365"/>
                <a:gd name="T75" fmla="*/ 2147483647 h 475"/>
                <a:gd name="T76" fmla="*/ 2147483647 w 365"/>
                <a:gd name="T77" fmla="*/ 2147483647 h 475"/>
                <a:gd name="T78" fmla="*/ 2147483647 w 365"/>
                <a:gd name="T79" fmla="*/ 2147483647 h 475"/>
                <a:gd name="T80" fmla="*/ 2147483647 w 365"/>
                <a:gd name="T81" fmla="*/ 2147483647 h 475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365"/>
                <a:gd name="T124" fmla="*/ 0 h 475"/>
                <a:gd name="T125" fmla="*/ 365 w 365"/>
                <a:gd name="T126" fmla="*/ 475 h 475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365" h="475">
                  <a:moveTo>
                    <a:pt x="266" y="149"/>
                  </a:moveTo>
                  <a:lnTo>
                    <a:pt x="266" y="149"/>
                  </a:lnTo>
                  <a:lnTo>
                    <a:pt x="255" y="150"/>
                  </a:lnTo>
                  <a:lnTo>
                    <a:pt x="244" y="151"/>
                  </a:lnTo>
                  <a:lnTo>
                    <a:pt x="233" y="153"/>
                  </a:lnTo>
                  <a:lnTo>
                    <a:pt x="224" y="157"/>
                  </a:lnTo>
                  <a:lnTo>
                    <a:pt x="214" y="160"/>
                  </a:lnTo>
                  <a:lnTo>
                    <a:pt x="206" y="164"/>
                  </a:lnTo>
                  <a:lnTo>
                    <a:pt x="197" y="168"/>
                  </a:lnTo>
                  <a:lnTo>
                    <a:pt x="189" y="174"/>
                  </a:lnTo>
                  <a:lnTo>
                    <a:pt x="176" y="184"/>
                  </a:lnTo>
                  <a:lnTo>
                    <a:pt x="164" y="196"/>
                  </a:lnTo>
                  <a:lnTo>
                    <a:pt x="154" y="208"/>
                  </a:lnTo>
                  <a:lnTo>
                    <a:pt x="147" y="220"/>
                  </a:lnTo>
                  <a:lnTo>
                    <a:pt x="147" y="0"/>
                  </a:lnTo>
                  <a:lnTo>
                    <a:pt x="139" y="2"/>
                  </a:lnTo>
                  <a:lnTo>
                    <a:pt x="0" y="19"/>
                  </a:lnTo>
                  <a:lnTo>
                    <a:pt x="0" y="43"/>
                  </a:lnTo>
                  <a:lnTo>
                    <a:pt x="7" y="43"/>
                  </a:lnTo>
                  <a:lnTo>
                    <a:pt x="21" y="45"/>
                  </a:lnTo>
                  <a:lnTo>
                    <a:pt x="32" y="47"/>
                  </a:lnTo>
                  <a:lnTo>
                    <a:pt x="42" y="51"/>
                  </a:lnTo>
                  <a:lnTo>
                    <a:pt x="45" y="53"/>
                  </a:lnTo>
                  <a:lnTo>
                    <a:pt x="48" y="55"/>
                  </a:lnTo>
                  <a:lnTo>
                    <a:pt x="52" y="58"/>
                  </a:lnTo>
                  <a:lnTo>
                    <a:pt x="54" y="62"/>
                  </a:lnTo>
                  <a:lnTo>
                    <a:pt x="57" y="71"/>
                  </a:lnTo>
                  <a:lnTo>
                    <a:pt x="58" y="83"/>
                  </a:lnTo>
                  <a:lnTo>
                    <a:pt x="59" y="98"/>
                  </a:lnTo>
                  <a:lnTo>
                    <a:pt x="59" y="475"/>
                  </a:lnTo>
                  <a:lnTo>
                    <a:pt x="147" y="475"/>
                  </a:lnTo>
                  <a:lnTo>
                    <a:pt x="147" y="313"/>
                  </a:lnTo>
                  <a:lnTo>
                    <a:pt x="147" y="302"/>
                  </a:lnTo>
                  <a:lnTo>
                    <a:pt x="149" y="291"/>
                  </a:lnTo>
                  <a:lnTo>
                    <a:pt x="151" y="281"/>
                  </a:lnTo>
                  <a:lnTo>
                    <a:pt x="154" y="271"/>
                  </a:lnTo>
                  <a:lnTo>
                    <a:pt x="158" y="261"/>
                  </a:lnTo>
                  <a:lnTo>
                    <a:pt x="163" y="253"/>
                  </a:lnTo>
                  <a:lnTo>
                    <a:pt x="168" y="244"/>
                  </a:lnTo>
                  <a:lnTo>
                    <a:pt x="173" y="237"/>
                  </a:lnTo>
                  <a:lnTo>
                    <a:pt x="180" y="230"/>
                  </a:lnTo>
                  <a:lnTo>
                    <a:pt x="186" y="224"/>
                  </a:lnTo>
                  <a:lnTo>
                    <a:pt x="193" y="220"/>
                  </a:lnTo>
                  <a:lnTo>
                    <a:pt x="200" y="214"/>
                  </a:lnTo>
                  <a:lnTo>
                    <a:pt x="208" y="211"/>
                  </a:lnTo>
                  <a:lnTo>
                    <a:pt x="214" y="209"/>
                  </a:lnTo>
                  <a:lnTo>
                    <a:pt x="222" y="207"/>
                  </a:lnTo>
                  <a:lnTo>
                    <a:pt x="229" y="207"/>
                  </a:lnTo>
                  <a:lnTo>
                    <a:pt x="238" y="207"/>
                  </a:lnTo>
                  <a:lnTo>
                    <a:pt x="245" y="208"/>
                  </a:lnTo>
                  <a:lnTo>
                    <a:pt x="251" y="210"/>
                  </a:lnTo>
                  <a:lnTo>
                    <a:pt x="257" y="213"/>
                  </a:lnTo>
                  <a:lnTo>
                    <a:pt x="262" y="216"/>
                  </a:lnTo>
                  <a:lnTo>
                    <a:pt x="265" y="220"/>
                  </a:lnTo>
                  <a:lnTo>
                    <a:pt x="269" y="224"/>
                  </a:lnTo>
                  <a:lnTo>
                    <a:pt x="272" y="229"/>
                  </a:lnTo>
                  <a:lnTo>
                    <a:pt x="275" y="240"/>
                  </a:lnTo>
                  <a:lnTo>
                    <a:pt x="277" y="251"/>
                  </a:lnTo>
                  <a:lnTo>
                    <a:pt x="277" y="264"/>
                  </a:lnTo>
                  <a:lnTo>
                    <a:pt x="277" y="275"/>
                  </a:lnTo>
                  <a:lnTo>
                    <a:pt x="277" y="475"/>
                  </a:lnTo>
                  <a:lnTo>
                    <a:pt x="365" y="475"/>
                  </a:lnTo>
                  <a:lnTo>
                    <a:pt x="365" y="266"/>
                  </a:lnTo>
                  <a:lnTo>
                    <a:pt x="365" y="251"/>
                  </a:lnTo>
                  <a:lnTo>
                    <a:pt x="364" y="232"/>
                  </a:lnTo>
                  <a:lnTo>
                    <a:pt x="363" y="223"/>
                  </a:lnTo>
                  <a:lnTo>
                    <a:pt x="360" y="213"/>
                  </a:lnTo>
                  <a:lnTo>
                    <a:pt x="357" y="204"/>
                  </a:lnTo>
                  <a:lnTo>
                    <a:pt x="353" y="194"/>
                  </a:lnTo>
                  <a:lnTo>
                    <a:pt x="348" y="185"/>
                  </a:lnTo>
                  <a:lnTo>
                    <a:pt x="341" y="177"/>
                  </a:lnTo>
                  <a:lnTo>
                    <a:pt x="333" y="169"/>
                  </a:lnTo>
                  <a:lnTo>
                    <a:pt x="323" y="163"/>
                  </a:lnTo>
                  <a:lnTo>
                    <a:pt x="312" y="158"/>
                  </a:lnTo>
                  <a:lnTo>
                    <a:pt x="300" y="153"/>
                  </a:lnTo>
                  <a:lnTo>
                    <a:pt x="284" y="150"/>
                  </a:lnTo>
                  <a:lnTo>
                    <a:pt x="266" y="149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7" name="Freeform 38">
              <a:extLst>
                <a:ext uri="{FF2B5EF4-FFF2-40B4-BE49-F238E27FC236}">
                  <a16:creationId xmlns:a16="http://schemas.microsoft.com/office/drawing/2014/main" id="{826C9866-138A-4E8A-84D0-B1AA9BD8C1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170284" y="434767"/>
              <a:ext cx="68898" cy="72583"/>
            </a:xfrm>
            <a:custGeom>
              <a:avLst/>
              <a:gdLst>
                <a:gd name="T0" fmla="*/ 2147483647 w 310"/>
                <a:gd name="T1" fmla="*/ 2147483647 h 334"/>
                <a:gd name="T2" fmla="*/ 2147483647 w 310"/>
                <a:gd name="T3" fmla="*/ 2147483647 h 334"/>
                <a:gd name="T4" fmla="*/ 2147483647 w 310"/>
                <a:gd name="T5" fmla="*/ 2147483647 h 334"/>
                <a:gd name="T6" fmla="*/ 2147483647 w 310"/>
                <a:gd name="T7" fmla="*/ 2147483647 h 334"/>
                <a:gd name="T8" fmla="*/ 2147483647 w 310"/>
                <a:gd name="T9" fmla="*/ 2147483647 h 334"/>
                <a:gd name="T10" fmla="*/ 2147483647 w 310"/>
                <a:gd name="T11" fmla="*/ 2147483647 h 334"/>
                <a:gd name="T12" fmla="*/ 2147483647 w 310"/>
                <a:gd name="T13" fmla="*/ 2147483647 h 334"/>
                <a:gd name="T14" fmla="*/ 2147483647 w 310"/>
                <a:gd name="T15" fmla="*/ 2147483647 h 334"/>
                <a:gd name="T16" fmla="*/ 2147483647 w 310"/>
                <a:gd name="T17" fmla="*/ 2147483647 h 334"/>
                <a:gd name="T18" fmla="*/ 2147483647 w 310"/>
                <a:gd name="T19" fmla="*/ 2147483647 h 334"/>
                <a:gd name="T20" fmla="*/ 2147483647 w 310"/>
                <a:gd name="T21" fmla="*/ 2147483647 h 334"/>
                <a:gd name="T22" fmla="*/ 2147483647 w 310"/>
                <a:gd name="T23" fmla="*/ 2147483647 h 334"/>
                <a:gd name="T24" fmla="*/ 2147483647 w 310"/>
                <a:gd name="T25" fmla="*/ 2147483647 h 334"/>
                <a:gd name="T26" fmla="*/ 2147483647 w 310"/>
                <a:gd name="T27" fmla="*/ 2147483647 h 334"/>
                <a:gd name="T28" fmla="*/ 2147483647 w 310"/>
                <a:gd name="T29" fmla="*/ 2147483647 h 334"/>
                <a:gd name="T30" fmla="*/ 2147483647 w 310"/>
                <a:gd name="T31" fmla="*/ 2147483647 h 334"/>
                <a:gd name="T32" fmla="*/ 2147483647 w 310"/>
                <a:gd name="T33" fmla="*/ 2147483647 h 334"/>
                <a:gd name="T34" fmla="*/ 2147483647 w 310"/>
                <a:gd name="T35" fmla="*/ 2147483647 h 334"/>
                <a:gd name="T36" fmla="*/ 2147483647 w 310"/>
                <a:gd name="T37" fmla="*/ 2147483647 h 334"/>
                <a:gd name="T38" fmla="*/ 2147483647 w 310"/>
                <a:gd name="T39" fmla="*/ 2147483647 h 334"/>
                <a:gd name="T40" fmla="*/ 2147483647 w 310"/>
                <a:gd name="T41" fmla="*/ 2147483647 h 334"/>
                <a:gd name="T42" fmla="*/ 2147483647 w 310"/>
                <a:gd name="T43" fmla="*/ 2147483647 h 334"/>
                <a:gd name="T44" fmla="*/ 2147483647 w 310"/>
                <a:gd name="T45" fmla="*/ 2147483647 h 334"/>
                <a:gd name="T46" fmla="*/ 2147483647 w 310"/>
                <a:gd name="T47" fmla="*/ 0 h 334"/>
                <a:gd name="T48" fmla="*/ 2147483647 w 310"/>
                <a:gd name="T49" fmla="*/ 2147483647 h 334"/>
                <a:gd name="T50" fmla="*/ 2147483647 w 310"/>
                <a:gd name="T51" fmla="*/ 2147483647 h 334"/>
                <a:gd name="T52" fmla="*/ 2147483647 w 310"/>
                <a:gd name="T53" fmla="*/ 2147483647 h 334"/>
                <a:gd name="T54" fmla="*/ 2147483647 w 310"/>
                <a:gd name="T55" fmla="*/ 2147483647 h 334"/>
                <a:gd name="T56" fmla="*/ 2147483647 w 310"/>
                <a:gd name="T57" fmla="*/ 2147483647 h 334"/>
                <a:gd name="T58" fmla="*/ 2147483647 w 310"/>
                <a:gd name="T59" fmla="*/ 2147483647 h 334"/>
                <a:gd name="T60" fmla="*/ 2147483647 w 310"/>
                <a:gd name="T61" fmla="*/ 2147483647 h 334"/>
                <a:gd name="T62" fmla="*/ 0 w 310"/>
                <a:gd name="T63" fmla="*/ 2147483647 h 334"/>
                <a:gd name="T64" fmla="*/ 2147483647 w 310"/>
                <a:gd name="T65" fmla="*/ 2147483647 h 334"/>
                <a:gd name="T66" fmla="*/ 2147483647 w 310"/>
                <a:gd name="T67" fmla="*/ 2147483647 h 334"/>
                <a:gd name="T68" fmla="*/ 2147483647 w 310"/>
                <a:gd name="T69" fmla="*/ 2147483647 h 334"/>
                <a:gd name="T70" fmla="*/ 2147483647 w 310"/>
                <a:gd name="T71" fmla="*/ 2147483647 h 334"/>
                <a:gd name="T72" fmla="*/ 2147483647 w 310"/>
                <a:gd name="T73" fmla="*/ 2147483647 h 334"/>
                <a:gd name="T74" fmla="*/ 2147483647 w 310"/>
                <a:gd name="T75" fmla="*/ 2147483647 h 334"/>
                <a:gd name="T76" fmla="*/ 2147483647 w 310"/>
                <a:gd name="T77" fmla="*/ 2147483647 h 334"/>
                <a:gd name="T78" fmla="*/ 2147483647 w 310"/>
                <a:gd name="T79" fmla="*/ 2147483647 h 334"/>
                <a:gd name="T80" fmla="*/ 2147483647 w 310"/>
                <a:gd name="T81" fmla="*/ 2147483647 h 334"/>
                <a:gd name="T82" fmla="*/ 2147483647 w 310"/>
                <a:gd name="T83" fmla="*/ 2147483647 h 334"/>
                <a:gd name="T84" fmla="*/ 2147483647 w 310"/>
                <a:gd name="T85" fmla="*/ 2147483647 h 334"/>
                <a:gd name="T86" fmla="*/ 2147483647 w 310"/>
                <a:gd name="T87" fmla="*/ 2147483647 h 334"/>
                <a:gd name="T88" fmla="*/ 2147483647 w 310"/>
                <a:gd name="T89" fmla="*/ 2147483647 h 334"/>
                <a:gd name="T90" fmla="*/ 2147483647 w 310"/>
                <a:gd name="T91" fmla="*/ 2147483647 h 334"/>
                <a:gd name="T92" fmla="*/ 2147483647 w 310"/>
                <a:gd name="T93" fmla="*/ 2147483647 h 334"/>
                <a:gd name="T94" fmla="*/ 2147483647 w 310"/>
                <a:gd name="T95" fmla="*/ 2147483647 h 334"/>
                <a:gd name="T96" fmla="*/ 2147483647 w 310"/>
                <a:gd name="T97" fmla="*/ 2147483647 h 334"/>
                <a:gd name="T98" fmla="*/ 2147483647 w 310"/>
                <a:gd name="T99" fmla="*/ 2147483647 h 334"/>
                <a:gd name="T100" fmla="*/ 2147483647 w 310"/>
                <a:gd name="T101" fmla="*/ 2147483647 h 334"/>
                <a:gd name="T102" fmla="*/ 2147483647 w 310"/>
                <a:gd name="T103" fmla="*/ 2147483647 h 334"/>
                <a:gd name="T104" fmla="*/ 2147483647 w 310"/>
                <a:gd name="T105" fmla="*/ 2147483647 h 334"/>
                <a:gd name="T106" fmla="*/ 2147483647 w 310"/>
                <a:gd name="T107" fmla="*/ 2147483647 h 334"/>
                <a:gd name="T108" fmla="*/ 2147483647 w 310"/>
                <a:gd name="T109" fmla="*/ 2147483647 h 334"/>
                <a:gd name="T110" fmla="*/ 2147483647 w 310"/>
                <a:gd name="T111" fmla="*/ 2147483647 h 334"/>
                <a:gd name="T112" fmla="*/ 2147483647 w 310"/>
                <a:gd name="T113" fmla="*/ 2147483647 h 334"/>
                <a:gd name="T114" fmla="*/ 2147483647 w 310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10"/>
                <a:gd name="T175" fmla="*/ 0 h 334"/>
                <a:gd name="T176" fmla="*/ 310 w 310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10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7"/>
                  </a:lnTo>
                  <a:lnTo>
                    <a:pt x="205" y="51"/>
                  </a:lnTo>
                  <a:lnTo>
                    <a:pt x="209" y="56"/>
                  </a:lnTo>
                  <a:lnTo>
                    <a:pt x="215" y="66"/>
                  </a:lnTo>
                  <a:lnTo>
                    <a:pt x="218" y="77"/>
                  </a:lnTo>
                  <a:lnTo>
                    <a:pt x="220" y="88"/>
                  </a:lnTo>
                  <a:lnTo>
                    <a:pt x="221" y="100"/>
                  </a:lnTo>
                  <a:lnTo>
                    <a:pt x="96" y="100"/>
                  </a:lnTo>
                  <a:lnTo>
                    <a:pt x="97" y="91"/>
                  </a:lnTo>
                  <a:lnTo>
                    <a:pt x="101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6" y="55"/>
                  </a:lnTo>
                  <a:lnTo>
                    <a:pt x="120" y="49"/>
                  </a:lnTo>
                  <a:lnTo>
                    <a:pt x="125" y="46"/>
                  </a:lnTo>
                  <a:lnTo>
                    <a:pt x="131" y="42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3" y="35"/>
                  </a:lnTo>
                  <a:lnTo>
                    <a:pt x="162" y="35"/>
                  </a:lnTo>
                  <a:close/>
                  <a:moveTo>
                    <a:pt x="310" y="133"/>
                  </a:moveTo>
                  <a:lnTo>
                    <a:pt x="310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0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3"/>
                  </a:lnTo>
                  <a:lnTo>
                    <a:pt x="228" y="9"/>
                  </a:lnTo>
                  <a:lnTo>
                    <a:pt x="214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5"/>
                  </a:lnTo>
                  <a:lnTo>
                    <a:pt x="93" y="10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6" y="74"/>
                  </a:lnTo>
                  <a:lnTo>
                    <a:pt x="11" y="88"/>
                  </a:lnTo>
                  <a:lnTo>
                    <a:pt x="7" y="104"/>
                  </a:lnTo>
                  <a:lnTo>
                    <a:pt x="3" y="120"/>
                  </a:lnTo>
                  <a:lnTo>
                    <a:pt x="1" y="137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0" y="247"/>
                  </a:lnTo>
                  <a:lnTo>
                    <a:pt x="29" y="261"/>
                  </a:lnTo>
                  <a:lnTo>
                    <a:pt x="40" y="275"/>
                  </a:lnTo>
                  <a:lnTo>
                    <a:pt x="51" y="287"/>
                  </a:lnTo>
                  <a:lnTo>
                    <a:pt x="64" y="297"/>
                  </a:lnTo>
                  <a:lnTo>
                    <a:pt x="78" y="307"/>
                  </a:lnTo>
                  <a:lnTo>
                    <a:pt x="94" y="316"/>
                  </a:lnTo>
                  <a:lnTo>
                    <a:pt x="110" y="322"/>
                  </a:lnTo>
                  <a:lnTo>
                    <a:pt x="129" y="327"/>
                  </a:lnTo>
                  <a:lnTo>
                    <a:pt x="149" y="331"/>
                  </a:lnTo>
                  <a:lnTo>
                    <a:pt x="169" y="333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4" y="329"/>
                  </a:lnTo>
                  <a:lnTo>
                    <a:pt x="258" y="327"/>
                  </a:lnTo>
                  <a:lnTo>
                    <a:pt x="282" y="321"/>
                  </a:lnTo>
                  <a:lnTo>
                    <a:pt x="297" y="316"/>
                  </a:lnTo>
                  <a:lnTo>
                    <a:pt x="303" y="314"/>
                  </a:lnTo>
                  <a:lnTo>
                    <a:pt x="303" y="272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7" y="285"/>
                  </a:lnTo>
                  <a:lnTo>
                    <a:pt x="226" y="286"/>
                  </a:lnTo>
                  <a:lnTo>
                    <a:pt x="210" y="285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7" y="273"/>
                  </a:lnTo>
                  <a:lnTo>
                    <a:pt x="155" y="265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20" y="228"/>
                  </a:lnTo>
                  <a:lnTo>
                    <a:pt x="113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8"/>
                  </a:lnTo>
                  <a:lnTo>
                    <a:pt x="98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10" y="139"/>
                  </a:lnTo>
                  <a:lnTo>
                    <a:pt x="310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68" name="Freeform 41">
              <a:extLst>
                <a:ext uri="{FF2B5EF4-FFF2-40B4-BE49-F238E27FC236}">
                  <a16:creationId xmlns:a16="http://schemas.microsoft.com/office/drawing/2014/main" id="{1EFE03DB-4CF4-43CB-837E-6D69F7749A4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09521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59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79" y="426"/>
                  </a:lnTo>
                  <a:lnTo>
                    <a:pt x="191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5" y="420"/>
                  </a:lnTo>
                  <a:lnTo>
                    <a:pt x="235" y="381"/>
                  </a:lnTo>
                  <a:lnTo>
                    <a:pt x="228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79" name="Freeform 43">
              <a:extLst>
                <a:ext uri="{FF2B5EF4-FFF2-40B4-BE49-F238E27FC236}">
                  <a16:creationId xmlns:a16="http://schemas.microsoft.com/office/drawing/2014/main" id="{7D594242-24FD-4A59-B170-AFD0B433ADD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87986" y="406117"/>
              <a:ext cx="115788" cy="100278"/>
            </a:xfrm>
            <a:custGeom>
              <a:avLst/>
              <a:gdLst>
                <a:gd name="T0" fmla="*/ 2147483647 w 525"/>
                <a:gd name="T1" fmla="*/ 0 h 455"/>
                <a:gd name="T2" fmla="*/ 2147483647 w 525"/>
                <a:gd name="T3" fmla="*/ 0 h 455"/>
                <a:gd name="T4" fmla="*/ 2147483647 w 525"/>
                <a:gd name="T5" fmla="*/ 0 h 455"/>
                <a:gd name="T6" fmla="*/ 2147483647 w 525"/>
                <a:gd name="T7" fmla="*/ 2147483647 h 455"/>
                <a:gd name="T8" fmla="*/ 2147483647 w 525"/>
                <a:gd name="T9" fmla="*/ 2147483647 h 455"/>
                <a:gd name="T10" fmla="*/ 2147483647 w 525"/>
                <a:gd name="T11" fmla="*/ 0 h 455"/>
                <a:gd name="T12" fmla="*/ 0 w 525"/>
                <a:gd name="T13" fmla="*/ 0 h 455"/>
                <a:gd name="T14" fmla="*/ 0 w 525"/>
                <a:gd name="T15" fmla="*/ 2147483647 h 455"/>
                <a:gd name="T16" fmla="*/ 2147483647 w 525"/>
                <a:gd name="T17" fmla="*/ 2147483647 h 455"/>
                <a:gd name="T18" fmla="*/ 2147483647 w 525"/>
                <a:gd name="T19" fmla="*/ 2147483647 h 455"/>
                <a:gd name="T20" fmla="*/ 2147483647 w 525"/>
                <a:gd name="T21" fmla="*/ 2147483647 h 455"/>
                <a:gd name="T22" fmla="*/ 2147483647 w 525"/>
                <a:gd name="T23" fmla="*/ 2147483647 h 455"/>
                <a:gd name="T24" fmla="*/ 2147483647 w 525"/>
                <a:gd name="T25" fmla="*/ 2147483647 h 455"/>
                <a:gd name="T26" fmla="*/ 2147483647 w 525"/>
                <a:gd name="T27" fmla="*/ 2147483647 h 455"/>
                <a:gd name="T28" fmla="*/ 2147483647 w 525"/>
                <a:gd name="T29" fmla="*/ 2147483647 h 455"/>
                <a:gd name="T30" fmla="*/ 2147483647 w 525"/>
                <a:gd name="T31" fmla="*/ 2147483647 h 455"/>
                <a:gd name="T32" fmla="*/ 2147483647 w 525"/>
                <a:gd name="T33" fmla="*/ 2147483647 h 455"/>
                <a:gd name="T34" fmla="*/ 2147483647 w 525"/>
                <a:gd name="T35" fmla="*/ 2147483647 h 455"/>
                <a:gd name="T36" fmla="*/ 2147483647 w 525"/>
                <a:gd name="T37" fmla="*/ 2147483647 h 455"/>
                <a:gd name="T38" fmla="*/ 2147483647 w 525"/>
                <a:gd name="T39" fmla="*/ 2147483647 h 455"/>
                <a:gd name="T40" fmla="*/ 2147483647 w 525"/>
                <a:gd name="T41" fmla="*/ 2147483647 h 455"/>
                <a:gd name="T42" fmla="*/ 2147483647 w 525"/>
                <a:gd name="T43" fmla="*/ 2147483647 h 455"/>
                <a:gd name="T44" fmla="*/ 2147483647 w 525"/>
                <a:gd name="T45" fmla="*/ 2147483647 h 455"/>
                <a:gd name="T46" fmla="*/ 2147483647 w 525"/>
                <a:gd name="T47" fmla="*/ 2147483647 h 455"/>
                <a:gd name="T48" fmla="*/ 2147483647 w 525"/>
                <a:gd name="T49" fmla="*/ 2147483647 h 455"/>
                <a:gd name="T50" fmla="*/ 2147483647 w 525"/>
                <a:gd name="T51" fmla="*/ 2147483647 h 455"/>
                <a:gd name="T52" fmla="*/ 2147483647 w 525"/>
                <a:gd name="T53" fmla="*/ 2147483647 h 455"/>
                <a:gd name="T54" fmla="*/ 2147483647 w 525"/>
                <a:gd name="T55" fmla="*/ 0 h 455"/>
                <a:gd name="T56" fmla="*/ 2147483647 w 525"/>
                <a:gd name="T57" fmla="*/ 0 h 455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525"/>
                <a:gd name="T88" fmla="*/ 0 h 455"/>
                <a:gd name="T89" fmla="*/ 525 w 525"/>
                <a:gd name="T90" fmla="*/ 455 h 455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525" h="455">
                  <a:moveTo>
                    <a:pt x="519" y="0"/>
                  </a:moveTo>
                  <a:lnTo>
                    <a:pt x="431" y="0"/>
                  </a:lnTo>
                  <a:lnTo>
                    <a:pt x="431" y="346"/>
                  </a:lnTo>
                  <a:lnTo>
                    <a:pt x="20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17" y="29"/>
                  </a:lnTo>
                  <a:lnTo>
                    <a:pt x="36" y="32"/>
                  </a:lnTo>
                  <a:lnTo>
                    <a:pt x="49" y="35"/>
                  </a:lnTo>
                  <a:lnTo>
                    <a:pt x="59" y="38"/>
                  </a:lnTo>
                  <a:lnTo>
                    <a:pt x="63" y="40"/>
                  </a:lnTo>
                  <a:lnTo>
                    <a:pt x="67" y="44"/>
                  </a:lnTo>
                  <a:lnTo>
                    <a:pt x="69" y="47"/>
                  </a:lnTo>
                  <a:lnTo>
                    <a:pt x="71" y="50"/>
                  </a:lnTo>
                  <a:lnTo>
                    <a:pt x="74" y="60"/>
                  </a:lnTo>
                  <a:lnTo>
                    <a:pt x="75" y="72"/>
                  </a:lnTo>
                  <a:lnTo>
                    <a:pt x="75" y="90"/>
                  </a:lnTo>
                  <a:lnTo>
                    <a:pt x="75" y="455"/>
                  </a:lnTo>
                  <a:lnTo>
                    <a:pt x="169" y="455"/>
                  </a:lnTo>
                  <a:lnTo>
                    <a:pt x="169" y="93"/>
                  </a:lnTo>
                  <a:lnTo>
                    <a:pt x="408" y="455"/>
                  </a:lnTo>
                  <a:lnTo>
                    <a:pt x="525" y="455"/>
                  </a:lnTo>
                  <a:lnTo>
                    <a:pt x="525" y="0"/>
                  </a:lnTo>
                  <a:lnTo>
                    <a:pt x="51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0" name="Freeform 45">
              <a:extLst>
                <a:ext uri="{FF2B5EF4-FFF2-40B4-BE49-F238E27FC236}">
                  <a16:creationId xmlns:a16="http://schemas.microsoft.com/office/drawing/2014/main" id="{BC2BC67B-50AF-41C6-B3B4-BE225234BE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421956" y="434767"/>
              <a:ext cx="67942" cy="72583"/>
            </a:xfrm>
            <a:custGeom>
              <a:avLst/>
              <a:gdLst>
                <a:gd name="T0" fmla="*/ 2147483647 w 309"/>
                <a:gd name="T1" fmla="*/ 2147483647 h 334"/>
                <a:gd name="T2" fmla="*/ 2147483647 w 309"/>
                <a:gd name="T3" fmla="*/ 2147483647 h 334"/>
                <a:gd name="T4" fmla="*/ 2147483647 w 309"/>
                <a:gd name="T5" fmla="*/ 2147483647 h 334"/>
                <a:gd name="T6" fmla="*/ 2147483647 w 309"/>
                <a:gd name="T7" fmla="*/ 2147483647 h 334"/>
                <a:gd name="T8" fmla="*/ 2147483647 w 309"/>
                <a:gd name="T9" fmla="*/ 2147483647 h 334"/>
                <a:gd name="T10" fmla="*/ 2147483647 w 309"/>
                <a:gd name="T11" fmla="*/ 2147483647 h 334"/>
                <a:gd name="T12" fmla="*/ 2147483647 w 309"/>
                <a:gd name="T13" fmla="*/ 2147483647 h 334"/>
                <a:gd name="T14" fmla="*/ 2147483647 w 309"/>
                <a:gd name="T15" fmla="*/ 2147483647 h 334"/>
                <a:gd name="T16" fmla="*/ 2147483647 w 309"/>
                <a:gd name="T17" fmla="*/ 2147483647 h 334"/>
                <a:gd name="T18" fmla="*/ 2147483647 w 309"/>
                <a:gd name="T19" fmla="*/ 2147483647 h 334"/>
                <a:gd name="T20" fmla="*/ 2147483647 w 309"/>
                <a:gd name="T21" fmla="*/ 2147483647 h 334"/>
                <a:gd name="T22" fmla="*/ 2147483647 w 309"/>
                <a:gd name="T23" fmla="*/ 2147483647 h 334"/>
                <a:gd name="T24" fmla="*/ 2147483647 w 309"/>
                <a:gd name="T25" fmla="*/ 2147483647 h 334"/>
                <a:gd name="T26" fmla="*/ 2147483647 w 309"/>
                <a:gd name="T27" fmla="*/ 2147483647 h 334"/>
                <a:gd name="T28" fmla="*/ 2147483647 w 309"/>
                <a:gd name="T29" fmla="*/ 2147483647 h 334"/>
                <a:gd name="T30" fmla="*/ 2147483647 w 309"/>
                <a:gd name="T31" fmla="*/ 2147483647 h 334"/>
                <a:gd name="T32" fmla="*/ 2147483647 w 309"/>
                <a:gd name="T33" fmla="*/ 2147483647 h 334"/>
                <a:gd name="T34" fmla="*/ 2147483647 w 309"/>
                <a:gd name="T35" fmla="*/ 2147483647 h 334"/>
                <a:gd name="T36" fmla="*/ 2147483647 w 309"/>
                <a:gd name="T37" fmla="*/ 2147483647 h 334"/>
                <a:gd name="T38" fmla="*/ 2147483647 w 309"/>
                <a:gd name="T39" fmla="*/ 2147483647 h 334"/>
                <a:gd name="T40" fmla="*/ 2147483647 w 309"/>
                <a:gd name="T41" fmla="*/ 2147483647 h 334"/>
                <a:gd name="T42" fmla="*/ 2147483647 w 309"/>
                <a:gd name="T43" fmla="*/ 2147483647 h 334"/>
                <a:gd name="T44" fmla="*/ 2147483647 w 309"/>
                <a:gd name="T45" fmla="*/ 2147483647 h 334"/>
                <a:gd name="T46" fmla="*/ 2147483647 w 309"/>
                <a:gd name="T47" fmla="*/ 0 h 334"/>
                <a:gd name="T48" fmla="*/ 2147483647 w 309"/>
                <a:gd name="T49" fmla="*/ 2147483647 h 334"/>
                <a:gd name="T50" fmla="*/ 2147483647 w 309"/>
                <a:gd name="T51" fmla="*/ 2147483647 h 334"/>
                <a:gd name="T52" fmla="*/ 2147483647 w 309"/>
                <a:gd name="T53" fmla="*/ 2147483647 h 334"/>
                <a:gd name="T54" fmla="*/ 2147483647 w 309"/>
                <a:gd name="T55" fmla="*/ 2147483647 h 334"/>
                <a:gd name="T56" fmla="*/ 2147483647 w 309"/>
                <a:gd name="T57" fmla="*/ 2147483647 h 334"/>
                <a:gd name="T58" fmla="*/ 2147483647 w 309"/>
                <a:gd name="T59" fmla="*/ 2147483647 h 334"/>
                <a:gd name="T60" fmla="*/ 2147483647 w 309"/>
                <a:gd name="T61" fmla="*/ 2147483647 h 334"/>
                <a:gd name="T62" fmla="*/ 0 w 309"/>
                <a:gd name="T63" fmla="*/ 2147483647 h 334"/>
                <a:gd name="T64" fmla="*/ 2147483647 w 309"/>
                <a:gd name="T65" fmla="*/ 2147483647 h 334"/>
                <a:gd name="T66" fmla="*/ 2147483647 w 309"/>
                <a:gd name="T67" fmla="*/ 2147483647 h 334"/>
                <a:gd name="T68" fmla="*/ 2147483647 w 309"/>
                <a:gd name="T69" fmla="*/ 2147483647 h 334"/>
                <a:gd name="T70" fmla="*/ 2147483647 w 309"/>
                <a:gd name="T71" fmla="*/ 2147483647 h 334"/>
                <a:gd name="T72" fmla="*/ 2147483647 w 309"/>
                <a:gd name="T73" fmla="*/ 2147483647 h 334"/>
                <a:gd name="T74" fmla="*/ 2147483647 w 309"/>
                <a:gd name="T75" fmla="*/ 2147483647 h 334"/>
                <a:gd name="T76" fmla="*/ 2147483647 w 309"/>
                <a:gd name="T77" fmla="*/ 2147483647 h 334"/>
                <a:gd name="T78" fmla="*/ 2147483647 w 309"/>
                <a:gd name="T79" fmla="*/ 2147483647 h 334"/>
                <a:gd name="T80" fmla="*/ 2147483647 w 309"/>
                <a:gd name="T81" fmla="*/ 2147483647 h 334"/>
                <a:gd name="T82" fmla="*/ 2147483647 w 309"/>
                <a:gd name="T83" fmla="*/ 2147483647 h 334"/>
                <a:gd name="T84" fmla="*/ 2147483647 w 309"/>
                <a:gd name="T85" fmla="*/ 2147483647 h 334"/>
                <a:gd name="T86" fmla="*/ 2147483647 w 309"/>
                <a:gd name="T87" fmla="*/ 2147483647 h 334"/>
                <a:gd name="T88" fmla="*/ 2147483647 w 309"/>
                <a:gd name="T89" fmla="*/ 2147483647 h 334"/>
                <a:gd name="T90" fmla="*/ 2147483647 w 309"/>
                <a:gd name="T91" fmla="*/ 2147483647 h 334"/>
                <a:gd name="T92" fmla="*/ 2147483647 w 309"/>
                <a:gd name="T93" fmla="*/ 2147483647 h 334"/>
                <a:gd name="T94" fmla="*/ 2147483647 w 309"/>
                <a:gd name="T95" fmla="*/ 2147483647 h 334"/>
                <a:gd name="T96" fmla="*/ 2147483647 w 309"/>
                <a:gd name="T97" fmla="*/ 2147483647 h 334"/>
                <a:gd name="T98" fmla="*/ 2147483647 w 309"/>
                <a:gd name="T99" fmla="*/ 2147483647 h 334"/>
                <a:gd name="T100" fmla="*/ 2147483647 w 309"/>
                <a:gd name="T101" fmla="*/ 2147483647 h 334"/>
                <a:gd name="T102" fmla="*/ 2147483647 w 309"/>
                <a:gd name="T103" fmla="*/ 2147483647 h 334"/>
                <a:gd name="T104" fmla="*/ 2147483647 w 309"/>
                <a:gd name="T105" fmla="*/ 2147483647 h 334"/>
                <a:gd name="T106" fmla="*/ 2147483647 w 309"/>
                <a:gd name="T107" fmla="*/ 2147483647 h 334"/>
                <a:gd name="T108" fmla="*/ 2147483647 w 309"/>
                <a:gd name="T109" fmla="*/ 2147483647 h 334"/>
                <a:gd name="T110" fmla="*/ 2147483647 w 309"/>
                <a:gd name="T111" fmla="*/ 2147483647 h 334"/>
                <a:gd name="T112" fmla="*/ 2147483647 w 309"/>
                <a:gd name="T113" fmla="*/ 2147483647 h 334"/>
                <a:gd name="T114" fmla="*/ 2147483647 w 309"/>
                <a:gd name="T115" fmla="*/ 2147483647 h 33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309"/>
                <a:gd name="T175" fmla="*/ 0 h 334"/>
                <a:gd name="T176" fmla="*/ 309 w 309"/>
                <a:gd name="T177" fmla="*/ 334 h 33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309" h="334">
                  <a:moveTo>
                    <a:pt x="162" y="35"/>
                  </a:moveTo>
                  <a:lnTo>
                    <a:pt x="162" y="35"/>
                  </a:lnTo>
                  <a:lnTo>
                    <a:pt x="170" y="35"/>
                  </a:lnTo>
                  <a:lnTo>
                    <a:pt x="178" y="36"/>
                  </a:lnTo>
                  <a:lnTo>
                    <a:pt x="184" y="39"/>
                  </a:lnTo>
                  <a:lnTo>
                    <a:pt x="190" y="41"/>
                  </a:lnTo>
                  <a:lnTo>
                    <a:pt x="196" y="44"/>
                  </a:lnTo>
                  <a:lnTo>
                    <a:pt x="201" y="48"/>
                  </a:lnTo>
                  <a:lnTo>
                    <a:pt x="204" y="51"/>
                  </a:lnTo>
                  <a:lnTo>
                    <a:pt x="209" y="56"/>
                  </a:lnTo>
                  <a:lnTo>
                    <a:pt x="214" y="66"/>
                  </a:lnTo>
                  <a:lnTo>
                    <a:pt x="218" y="77"/>
                  </a:lnTo>
                  <a:lnTo>
                    <a:pt x="220" y="89"/>
                  </a:lnTo>
                  <a:lnTo>
                    <a:pt x="221" y="101"/>
                  </a:lnTo>
                  <a:lnTo>
                    <a:pt x="95" y="101"/>
                  </a:lnTo>
                  <a:lnTo>
                    <a:pt x="97" y="91"/>
                  </a:lnTo>
                  <a:lnTo>
                    <a:pt x="100" y="80"/>
                  </a:lnTo>
                  <a:lnTo>
                    <a:pt x="105" y="70"/>
                  </a:lnTo>
                  <a:lnTo>
                    <a:pt x="111" y="59"/>
                  </a:lnTo>
                  <a:lnTo>
                    <a:pt x="115" y="55"/>
                  </a:lnTo>
                  <a:lnTo>
                    <a:pt x="120" y="50"/>
                  </a:lnTo>
                  <a:lnTo>
                    <a:pt x="124" y="46"/>
                  </a:lnTo>
                  <a:lnTo>
                    <a:pt x="131" y="43"/>
                  </a:lnTo>
                  <a:lnTo>
                    <a:pt x="137" y="40"/>
                  </a:lnTo>
                  <a:lnTo>
                    <a:pt x="144" y="38"/>
                  </a:lnTo>
                  <a:lnTo>
                    <a:pt x="152" y="36"/>
                  </a:lnTo>
                  <a:lnTo>
                    <a:pt x="162" y="35"/>
                  </a:lnTo>
                  <a:close/>
                  <a:moveTo>
                    <a:pt x="309" y="133"/>
                  </a:moveTo>
                  <a:lnTo>
                    <a:pt x="309" y="133"/>
                  </a:lnTo>
                  <a:lnTo>
                    <a:pt x="309" y="117"/>
                  </a:lnTo>
                  <a:lnTo>
                    <a:pt x="307" y="102"/>
                  </a:lnTo>
                  <a:lnTo>
                    <a:pt x="305" y="88"/>
                  </a:lnTo>
                  <a:lnTo>
                    <a:pt x="301" y="75"/>
                  </a:lnTo>
                  <a:lnTo>
                    <a:pt x="295" y="63"/>
                  </a:lnTo>
                  <a:lnTo>
                    <a:pt x="289" y="52"/>
                  </a:lnTo>
                  <a:lnTo>
                    <a:pt x="281" y="43"/>
                  </a:lnTo>
                  <a:lnTo>
                    <a:pt x="273" y="33"/>
                  </a:lnTo>
                  <a:lnTo>
                    <a:pt x="263" y="26"/>
                  </a:lnTo>
                  <a:lnTo>
                    <a:pt x="252" y="19"/>
                  </a:lnTo>
                  <a:lnTo>
                    <a:pt x="241" y="14"/>
                  </a:lnTo>
                  <a:lnTo>
                    <a:pt x="228" y="9"/>
                  </a:lnTo>
                  <a:lnTo>
                    <a:pt x="213" y="5"/>
                  </a:lnTo>
                  <a:lnTo>
                    <a:pt x="198" y="2"/>
                  </a:lnTo>
                  <a:lnTo>
                    <a:pt x="182" y="1"/>
                  </a:lnTo>
                  <a:lnTo>
                    <a:pt x="164" y="0"/>
                  </a:lnTo>
                  <a:lnTo>
                    <a:pt x="144" y="1"/>
                  </a:lnTo>
                  <a:lnTo>
                    <a:pt x="126" y="3"/>
                  </a:lnTo>
                  <a:lnTo>
                    <a:pt x="109" y="6"/>
                  </a:lnTo>
                  <a:lnTo>
                    <a:pt x="93" y="11"/>
                  </a:lnTo>
                  <a:lnTo>
                    <a:pt x="78" y="16"/>
                  </a:lnTo>
                  <a:lnTo>
                    <a:pt x="64" y="23"/>
                  </a:lnTo>
                  <a:lnTo>
                    <a:pt x="53" y="30"/>
                  </a:lnTo>
                  <a:lnTo>
                    <a:pt x="42" y="40"/>
                  </a:lnTo>
                  <a:lnTo>
                    <a:pt x="32" y="50"/>
                  </a:lnTo>
                  <a:lnTo>
                    <a:pt x="24" y="62"/>
                  </a:lnTo>
                  <a:lnTo>
                    <a:pt x="16" y="75"/>
                  </a:lnTo>
                  <a:lnTo>
                    <a:pt x="11" y="89"/>
                  </a:lnTo>
                  <a:lnTo>
                    <a:pt x="6" y="104"/>
                  </a:lnTo>
                  <a:lnTo>
                    <a:pt x="2" y="120"/>
                  </a:lnTo>
                  <a:lnTo>
                    <a:pt x="1" y="138"/>
                  </a:lnTo>
                  <a:lnTo>
                    <a:pt x="0" y="156"/>
                  </a:lnTo>
                  <a:lnTo>
                    <a:pt x="1" y="177"/>
                  </a:lnTo>
                  <a:lnTo>
                    <a:pt x="3" y="196"/>
                  </a:lnTo>
                  <a:lnTo>
                    <a:pt x="8" y="214"/>
                  </a:lnTo>
                  <a:lnTo>
                    <a:pt x="13" y="231"/>
                  </a:lnTo>
                  <a:lnTo>
                    <a:pt x="21" y="247"/>
                  </a:lnTo>
                  <a:lnTo>
                    <a:pt x="29" y="261"/>
                  </a:lnTo>
                  <a:lnTo>
                    <a:pt x="39" y="275"/>
                  </a:lnTo>
                  <a:lnTo>
                    <a:pt x="50" y="287"/>
                  </a:lnTo>
                  <a:lnTo>
                    <a:pt x="63" y="297"/>
                  </a:lnTo>
                  <a:lnTo>
                    <a:pt x="78" y="307"/>
                  </a:lnTo>
                  <a:lnTo>
                    <a:pt x="93" y="316"/>
                  </a:lnTo>
                  <a:lnTo>
                    <a:pt x="110" y="322"/>
                  </a:lnTo>
                  <a:lnTo>
                    <a:pt x="128" y="327"/>
                  </a:lnTo>
                  <a:lnTo>
                    <a:pt x="148" y="331"/>
                  </a:lnTo>
                  <a:lnTo>
                    <a:pt x="169" y="334"/>
                  </a:lnTo>
                  <a:lnTo>
                    <a:pt x="190" y="334"/>
                  </a:lnTo>
                  <a:lnTo>
                    <a:pt x="210" y="334"/>
                  </a:lnTo>
                  <a:lnTo>
                    <a:pt x="227" y="332"/>
                  </a:lnTo>
                  <a:lnTo>
                    <a:pt x="243" y="329"/>
                  </a:lnTo>
                  <a:lnTo>
                    <a:pt x="258" y="327"/>
                  </a:lnTo>
                  <a:lnTo>
                    <a:pt x="281" y="321"/>
                  </a:lnTo>
                  <a:lnTo>
                    <a:pt x="297" y="317"/>
                  </a:lnTo>
                  <a:lnTo>
                    <a:pt x="303" y="314"/>
                  </a:lnTo>
                  <a:lnTo>
                    <a:pt x="303" y="273"/>
                  </a:lnTo>
                  <a:lnTo>
                    <a:pt x="294" y="275"/>
                  </a:lnTo>
                  <a:lnTo>
                    <a:pt x="281" y="279"/>
                  </a:lnTo>
                  <a:lnTo>
                    <a:pt x="265" y="282"/>
                  </a:lnTo>
                  <a:lnTo>
                    <a:pt x="246" y="286"/>
                  </a:lnTo>
                  <a:lnTo>
                    <a:pt x="226" y="286"/>
                  </a:lnTo>
                  <a:lnTo>
                    <a:pt x="209" y="286"/>
                  </a:lnTo>
                  <a:lnTo>
                    <a:pt x="194" y="282"/>
                  </a:lnTo>
                  <a:lnTo>
                    <a:pt x="180" y="278"/>
                  </a:lnTo>
                  <a:lnTo>
                    <a:pt x="166" y="273"/>
                  </a:lnTo>
                  <a:lnTo>
                    <a:pt x="154" y="266"/>
                  </a:lnTo>
                  <a:lnTo>
                    <a:pt x="144" y="258"/>
                  </a:lnTo>
                  <a:lnTo>
                    <a:pt x="135" y="248"/>
                  </a:lnTo>
                  <a:lnTo>
                    <a:pt x="126" y="239"/>
                  </a:lnTo>
                  <a:lnTo>
                    <a:pt x="119" y="228"/>
                  </a:lnTo>
                  <a:lnTo>
                    <a:pt x="112" y="216"/>
                  </a:lnTo>
                  <a:lnTo>
                    <a:pt x="108" y="203"/>
                  </a:lnTo>
                  <a:lnTo>
                    <a:pt x="104" y="192"/>
                  </a:lnTo>
                  <a:lnTo>
                    <a:pt x="101" y="179"/>
                  </a:lnTo>
                  <a:lnTo>
                    <a:pt x="97" y="165"/>
                  </a:lnTo>
                  <a:lnTo>
                    <a:pt x="96" y="152"/>
                  </a:lnTo>
                  <a:lnTo>
                    <a:pt x="95" y="139"/>
                  </a:lnTo>
                  <a:lnTo>
                    <a:pt x="309" y="139"/>
                  </a:lnTo>
                  <a:lnTo>
                    <a:pt x="309" y="133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1" name="Freeform 48">
              <a:extLst>
                <a:ext uri="{FF2B5EF4-FFF2-40B4-BE49-F238E27FC236}">
                  <a16:creationId xmlns:a16="http://schemas.microsoft.com/office/drawing/2014/main" id="{6C60BAE3-900D-4DF2-81EB-9744A7D473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3677" y="414712"/>
              <a:ext cx="53587" cy="92639"/>
            </a:xfrm>
            <a:custGeom>
              <a:avLst/>
              <a:gdLst>
                <a:gd name="T0" fmla="*/ 2147483647 w 245"/>
                <a:gd name="T1" fmla="*/ 0 h 426"/>
                <a:gd name="T2" fmla="*/ 2147483647 w 245"/>
                <a:gd name="T3" fmla="*/ 0 h 426"/>
                <a:gd name="T4" fmla="*/ 2147483647 w 245"/>
                <a:gd name="T5" fmla="*/ 2147483647 h 426"/>
                <a:gd name="T6" fmla="*/ 2147483647 w 245"/>
                <a:gd name="T7" fmla="*/ 2147483647 h 426"/>
                <a:gd name="T8" fmla="*/ 0 w 245"/>
                <a:gd name="T9" fmla="*/ 2147483647 h 426"/>
                <a:gd name="T10" fmla="*/ 0 w 245"/>
                <a:gd name="T11" fmla="*/ 2147483647 h 426"/>
                <a:gd name="T12" fmla="*/ 0 w 245"/>
                <a:gd name="T13" fmla="*/ 2147483647 h 426"/>
                <a:gd name="T14" fmla="*/ 2147483647 w 245"/>
                <a:gd name="T15" fmla="*/ 2147483647 h 426"/>
                <a:gd name="T16" fmla="*/ 2147483647 w 245"/>
                <a:gd name="T17" fmla="*/ 2147483647 h 426"/>
                <a:gd name="T18" fmla="*/ 2147483647 w 245"/>
                <a:gd name="T19" fmla="*/ 2147483647 h 426"/>
                <a:gd name="T20" fmla="*/ 2147483647 w 245"/>
                <a:gd name="T21" fmla="*/ 2147483647 h 426"/>
                <a:gd name="T22" fmla="*/ 2147483647 w 245"/>
                <a:gd name="T23" fmla="*/ 2147483647 h 426"/>
                <a:gd name="T24" fmla="*/ 2147483647 w 245"/>
                <a:gd name="T25" fmla="*/ 2147483647 h 426"/>
                <a:gd name="T26" fmla="*/ 2147483647 w 245"/>
                <a:gd name="T27" fmla="*/ 2147483647 h 426"/>
                <a:gd name="T28" fmla="*/ 2147483647 w 245"/>
                <a:gd name="T29" fmla="*/ 2147483647 h 426"/>
                <a:gd name="T30" fmla="*/ 2147483647 w 245"/>
                <a:gd name="T31" fmla="*/ 2147483647 h 426"/>
                <a:gd name="T32" fmla="*/ 2147483647 w 245"/>
                <a:gd name="T33" fmla="*/ 2147483647 h 426"/>
                <a:gd name="T34" fmla="*/ 2147483647 w 245"/>
                <a:gd name="T35" fmla="*/ 2147483647 h 426"/>
                <a:gd name="T36" fmla="*/ 2147483647 w 245"/>
                <a:gd name="T37" fmla="*/ 2147483647 h 426"/>
                <a:gd name="T38" fmla="*/ 2147483647 w 245"/>
                <a:gd name="T39" fmla="*/ 2147483647 h 426"/>
                <a:gd name="T40" fmla="*/ 2147483647 w 245"/>
                <a:gd name="T41" fmla="*/ 2147483647 h 426"/>
                <a:gd name="T42" fmla="*/ 2147483647 w 245"/>
                <a:gd name="T43" fmla="*/ 2147483647 h 426"/>
                <a:gd name="T44" fmla="*/ 2147483647 w 245"/>
                <a:gd name="T45" fmla="*/ 2147483647 h 426"/>
                <a:gd name="T46" fmla="*/ 2147483647 w 245"/>
                <a:gd name="T47" fmla="*/ 2147483647 h 426"/>
                <a:gd name="T48" fmla="*/ 2147483647 w 245"/>
                <a:gd name="T49" fmla="*/ 2147483647 h 426"/>
                <a:gd name="T50" fmla="*/ 2147483647 w 245"/>
                <a:gd name="T51" fmla="*/ 2147483647 h 426"/>
                <a:gd name="T52" fmla="*/ 2147483647 w 245"/>
                <a:gd name="T53" fmla="*/ 2147483647 h 426"/>
                <a:gd name="T54" fmla="*/ 2147483647 w 245"/>
                <a:gd name="T55" fmla="*/ 2147483647 h 426"/>
                <a:gd name="T56" fmla="*/ 2147483647 w 245"/>
                <a:gd name="T57" fmla="*/ 2147483647 h 426"/>
                <a:gd name="T58" fmla="*/ 2147483647 w 245"/>
                <a:gd name="T59" fmla="*/ 2147483647 h 426"/>
                <a:gd name="T60" fmla="*/ 2147483647 w 245"/>
                <a:gd name="T61" fmla="*/ 2147483647 h 426"/>
                <a:gd name="T62" fmla="*/ 2147483647 w 245"/>
                <a:gd name="T63" fmla="*/ 2147483647 h 426"/>
                <a:gd name="T64" fmla="*/ 2147483647 w 245"/>
                <a:gd name="T65" fmla="*/ 2147483647 h 426"/>
                <a:gd name="T66" fmla="*/ 2147483647 w 245"/>
                <a:gd name="T67" fmla="*/ 2147483647 h 426"/>
                <a:gd name="T68" fmla="*/ 2147483647 w 245"/>
                <a:gd name="T69" fmla="*/ 2147483647 h 426"/>
                <a:gd name="T70" fmla="*/ 2147483647 w 245"/>
                <a:gd name="T71" fmla="*/ 2147483647 h 426"/>
                <a:gd name="T72" fmla="*/ 2147483647 w 245"/>
                <a:gd name="T73" fmla="*/ 2147483647 h 426"/>
                <a:gd name="T74" fmla="*/ 2147483647 w 245"/>
                <a:gd name="T75" fmla="*/ 2147483647 h 426"/>
                <a:gd name="T76" fmla="*/ 2147483647 w 245"/>
                <a:gd name="T77" fmla="*/ 2147483647 h 426"/>
                <a:gd name="T78" fmla="*/ 2147483647 w 245"/>
                <a:gd name="T79" fmla="*/ 2147483647 h 426"/>
                <a:gd name="T80" fmla="*/ 2147483647 w 245"/>
                <a:gd name="T81" fmla="*/ 2147483647 h 426"/>
                <a:gd name="T82" fmla="*/ 2147483647 w 245"/>
                <a:gd name="T83" fmla="*/ 2147483647 h 426"/>
                <a:gd name="T84" fmla="*/ 2147483647 w 245"/>
                <a:gd name="T85" fmla="*/ 2147483647 h 426"/>
                <a:gd name="T86" fmla="*/ 2147483647 w 245"/>
                <a:gd name="T87" fmla="*/ 2147483647 h 426"/>
                <a:gd name="T88" fmla="*/ 2147483647 w 245"/>
                <a:gd name="T89" fmla="*/ 2147483647 h 426"/>
                <a:gd name="T90" fmla="*/ 2147483647 w 245"/>
                <a:gd name="T91" fmla="*/ 2147483647 h 426"/>
                <a:gd name="T92" fmla="*/ 2147483647 w 245"/>
                <a:gd name="T93" fmla="*/ 2147483647 h 426"/>
                <a:gd name="T94" fmla="*/ 2147483647 w 245"/>
                <a:gd name="T95" fmla="*/ 2147483647 h 426"/>
                <a:gd name="T96" fmla="*/ 2147483647 w 245"/>
                <a:gd name="T97" fmla="*/ 2147483647 h 426"/>
                <a:gd name="T98" fmla="*/ 2147483647 w 245"/>
                <a:gd name="T99" fmla="*/ 2147483647 h 426"/>
                <a:gd name="T100" fmla="*/ 2147483647 w 245"/>
                <a:gd name="T101" fmla="*/ 2147483647 h 426"/>
                <a:gd name="T102" fmla="*/ 2147483647 w 245"/>
                <a:gd name="T103" fmla="*/ 2147483647 h 426"/>
                <a:gd name="T104" fmla="*/ 2147483647 w 245"/>
                <a:gd name="T105" fmla="*/ 2147483647 h 426"/>
                <a:gd name="T106" fmla="*/ 2147483647 w 245"/>
                <a:gd name="T107" fmla="*/ 2147483647 h 426"/>
                <a:gd name="T108" fmla="*/ 2147483647 w 245"/>
                <a:gd name="T109" fmla="*/ 2147483647 h 426"/>
                <a:gd name="T110" fmla="*/ 2147483647 w 245"/>
                <a:gd name="T111" fmla="*/ 0 h 426"/>
                <a:gd name="T112" fmla="*/ 2147483647 w 245"/>
                <a:gd name="T113" fmla="*/ 0 h 42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45"/>
                <a:gd name="T172" fmla="*/ 0 h 426"/>
                <a:gd name="T173" fmla="*/ 245 w 245"/>
                <a:gd name="T174" fmla="*/ 426 h 42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45" h="426">
                  <a:moveTo>
                    <a:pt x="59" y="0"/>
                  </a:moveTo>
                  <a:lnTo>
                    <a:pt x="59" y="0"/>
                  </a:lnTo>
                  <a:lnTo>
                    <a:pt x="59" y="100"/>
                  </a:lnTo>
                  <a:lnTo>
                    <a:pt x="0" y="100"/>
                  </a:lnTo>
                  <a:lnTo>
                    <a:pt x="0" y="139"/>
                  </a:lnTo>
                  <a:lnTo>
                    <a:pt x="59" y="139"/>
                  </a:lnTo>
                  <a:lnTo>
                    <a:pt x="59" y="335"/>
                  </a:lnTo>
                  <a:lnTo>
                    <a:pt x="60" y="350"/>
                  </a:lnTo>
                  <a:lnTo>
                    <a:pt x="61" y="363"/>
                  </a:lnTo>
                  <a:lnTo>
                    <a:pt x="64" y="374"/>
                  </a:lnTo>
                  <a:lnTo>
                    <a:pt x="69" y="385"/>
                  </a:lnTo>
                  <a:lnTo>
                    <a:pt x="74" y="394"/>
                  </a:lnTo>
                  <a:lnTo>
                    <a:pt x="79" y="401"/>
                  </a:lnTo>
                  <a:lnTo>
                    <a:pt x="87" y="408"/>
                  </a:lnTo>
                  <a:lnTo>
                    <a:pt x="94" y="412"/>
                  </a:lnTo>
                  <a:lnTo>
                    <a:pt x="103" y="416"/>
                  </a:lnTo>
                  <a:lnTo>
                    <a:pt x="112" y="419"/>
                  </a:lnTo>
                  <a:lnTo>
                    <a:pt x="122" y="421"/>
                  </a:lnTo>
                  <a:lnTo>
                    <a:pt x="133" y="424"/>
                  </a:lnTo>
                  <a:lnTo>
                    <a:pt x="155" y="426"/>
                  </a:lnTo>
                  <a:lnTo>
                    <a:pt x="180" y="426"/>
                  </a:lnTo>
                  <a:lnTo>
                    <a:pt x="192" y="426"/>
                  </a:lnTo>
                  <a:lnTo>
                    <a:pt x="204" y="425"/>
                  </a:lnTo>
                  <a:lnTo>
                    <a:pt x="231" y="420"/>
                  </a:lnTo>
                  <a:lnTo>
                    <a:pt x="236" y="420"/>
                  </a:lnTo>
                  <a:lnTo>
                    <a:pt x="236" y="381"/>
                  </a:lnTo>
                  <a:lnTo>
                    <a:pt x="229" y="382"/>
                  </a:lnTo>
                  <a:lnTo>
                    <a:pt x="216" y="384"/>
                  </a:lnTo>
                  <a:lnTo>
                    <a:pt x="202" y="385"/>
                  </a:lnTo>
                  <a:lnTo>
                    <a:pt x="184" y="384"/>
                  </a:lnTo>
                  <a:lnTo>
                    <a:pt x="171" y="382"/>
                  </a:lnTo>
                  <a:lnTo>
                    <a:pt x="166" y="380"/>
                  </a:lnTo>
                  <a:lnTo>
                    <a:pt x="162" y="378"/>
                  </a:lnTo>
                  <a:lnTo>
                    <a:pt x="157" y="374"/>
                  </a:lnTo>
                  <a:lnTo>
                    <a:pt x="154" y="371"/>
                  </a:lnTo>
                  <a:lnTo>
                    <a:pt x="152" y="368"/>
                  </a:lnTo>
                  <a:lnTo>
                    <a:pt x="150" y="363"/>
                  </a:lnTo>
                  <a:lnTo>
                    <a:pt x="148" y="353"/>
                  </a:lnTo>
                  <a:lnTo>
                    <a:pt x="147" y="340"/>
                  </a:lnTo>
                  <a:lnTo>
                    <a:pt x="147" y="324"/>
                  </a:lnTo>
                  <a:lnTo>
                    <a:pt x="147" y="139"/>
                  </a:lnTo>
                  <a:lnTo>
                    <a:pt x="245" y="139"/>
                  </a:lnTo>
                  <a:lnTo>
                    <a:pt x="245" y="100"/>
                  </a:lnTo>
                  <a:lnTo>
                    <a:pt x="147" y="100"/>
                  </a:lnTo>
                  <a:lnTo>
                    <a:pt x="147" y="0"/>
                  </a:lnTo>
                  <a:lnTo>
                    <a:pt x="59" y="0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2" name="Freeform 50">
              <a:extLst>
                <a:ext uri="{FF2B5EF4-FFF2-40B4-BE49-F238E27FC236}">
                  <a16:creationId xmlns:a16="http://schemas.microsoft.com/office/drawing/2014/main" id="{3A5816E1-12F5-4F7E-A291-FAA557FAF3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91812" y="435722"/>
              <a:ext cx="85166" cy="70672"/>
            </a:xfrm>
            <a:custGeom>
              <a:avLst/>
              <a:gdLst>
                <a:gd name="T0" fmla="*/ 2147483647 w 387"/>
                <a:gd name="T1" fmla="*/ 2147483647 h 319"/>
                <a:gd name="T2" fmla="*/ 2147483647 w 387"/>
                <a:gd name="T3" fmla="*/ 0 h 319"/>
                <a:gd name="T4" fmla="*/ 2147483647 w 387"/>
                <a:gd name="T5" fmla="*/ 0 h 319"/>
                <a:gd name="T6" fmla="*/ 2147483647 w 387"/>
                <a:gd name="T7" fmla="*/ 2147483647 h 319"/>
                <a:gd name="T8" fmla="*/ 2147483647 w 387"/>
                <a:gd name="T9" fmla="*/ 0 h 319"/>
                <a:gd name="T10" fmla="*/ 0 w 387"/>
                <a:gd name="T11" fmla="*/ 0 h 319"/>
                <a:gd name="T12" fmla="*/ 0 w 387"/>
                <a:gd name="T13" fmla="*/ 2147483647 h 319"/>
                <a:gd name="T14" fmla="*/ 2147483647 w 387"/>
                <a:gd name="T15" fmla="*/ 2147483647 h 319"/>
                <a:gd name="T16" fmla="*/ 2147483647 w 387"/>
                <a:gd name="T17" fmla="*/ 2147483647 h 319"/>
                <a:gd name="T18" fmla="*/ 2147483647 w 387"/>
                <a:gd name="T19" fmla="*/ 2147483647 h 319"/>
                <a:gd name="T20" fmla="*/ 2147483647 w 387"/>
                <a:gd name="T21" fmla="*/ 2147483647 h 319"/>
                <a:gd name="T22" fmla="*/ 2147483647 w 387"/>
                <a:gd name="T23" fmla="*/ 2147483647 h 319"/>
                <a:gd name="T24" fmla="*/ 2147483647 w 387"/>
                <a:gd name="T25" fmla="*/ 2147483647 h 319"/>
                <a:gd name="T26" fmla="*/ 2147483647 w 387"/>
                <a:gd name="T27" fmla="*/ 2147483647 h 319"/>
                <a:gd name="T28" fmla="*/ 2147483647 w 387"/>
                <a:gd name="T29" fmla="*/ 2147483647 h 319"/>
                <a:gd name="T30" fmla="*/ 2147483647 w 387"/>
                <a:gd name="T31" fmla="*/ 2147483647 h 319"/>
                <a:gd name="T32" fmla="*/ 2147483647 w 387"/>
                <a:gd name="T33" fmla="*/ 2147483647 h 319"/>
                <a:gd name="T34" fmla="*/ 2147483647 w 387"/>
                <a:gd name="T35" fmla="*/ 2147483647 h 319"/>
                <a:gd name="T36" fmla="*/ 2147483647 w 387"/>
                <a:gd name="T37" fmla="*/ 2147483647 h 319"/>
                <a:gd name="T38" fmla="*/ 2147483647 w 387"/>
                <a:gd name="T39" fmla="*/ 2147483647 h 319"/>
                <a:gd name="T40" fmla="*/ 2147483647 w 387"/>
                <a:gd name="T41" fmla="*/ 2147483647 h 319"/>
                <a:gd name="T42" fmla="*/ 2147483647 w 387"/>
                <a:gd name="T43" fmla="*/ 2147483647 h 319"/>
                <a:gd name="T44" fmla="*/ 2147483647 w 387"/>
                <a:gd name="T45" fmla="*/ 2147483647 h 319"/>
                <a:gd name="T46" fmla="*/ 2147483647 w 387"/>
                <a:gd name="T47" fmla="*/ 2147483647 h 319"/>
                <a:gd name="T48" fmla="*/ 2147483647 w 387"/>
                <a:gd name="T49" fmla="*/ 2147483647 h 31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387"/>
                <a:gd name="T76" fmla="*/ 0 h 319"/>
                <a:gd name="T77" fmla="*/ 387 w 387"/>
                <a:gd name="T78" fmla="*/ 319 h 31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387" h="319">
                  <a:moveTo>
                    <a:pt x="297" y="104"/>
                  </a:moveTo>
                  <a:lnTo>
                    <a:pt x="387" y="0"/>
                  </a:lnTo>
                  <a:lnTo>
                    <a:pt x="295" y="0"/>
                  </a:lnTo>
                  <a:lnTo>
                    <a:pt x="209" y="98"/>
                  </a:lnTo>
                  <a:lnTo>
                    <a:pt x="133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21" y="27"/>
                  </a:lnTo>
                  <a:lnTo>
                    <a:pt x="34" y="30"/>
                  </a:lnTo>
                  <a:lnTo>
                    <a:pt x="45" y="33"/>
                  </a:lnTo>
                  <a:lnTo>
                    <a:pt x="54" y="37"/>
                  </a:lnTo>
                  <a:lnTo>
                    <a:pt x="63" y="43"/>
                  </a:lnTo>
                  <a:lnTo>
                    <a:pt x="70" y="51"/>
                  </a:lnTo>
                  <a:lnTo>
                    <a:pt x="80" y="62"/>
                  </a:lnTo>
                  <a:lnTo>
                    <a:pt x="89" y="73"/>
                  </a:lnTo>
                  <a:lnTo>
                    <a:pt x="144" y="147"/>
                  </a:lnTo>
                  <a:lnTo>
                    <a:pt x="54" y="251"/>
                  </a:lnTo>
                  <a:lnTo>
                    <a:pt x="147" y="251"/>
                  </a:lnTo>
                  <a:lnTo>
                    <a:pt x="188" y="204"/>
                  </a:lnTo>
                  <a:lnTo>
                    <a:pt x="273" y="319"/>
                  </a:lnTo>
                  <a:lnTo>
                    <a:pt x="377" y="319"/>
                  </a:lnTo>
                  <a:lnTo>
                    <a:pt x="213" y="104"/>
                  </a:lnTo>
                  <a:lnTo>
                    <a:pt x="297" y="104"/>
                  </a:lnTo>
                  <a:close/>
                </a:path>
              </a:pathLst>
            </a:custGeom>
            <a:solidFill>
              <a:schemeClr val="tx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67500" tIns="35100" rIns="67500" bIns="35100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  <p:sp>
          <p:nvSpPr>
            <p:cNvPr id="183" name="Freeform 52">
              <a:extLst>
                <a:ext uri="{FF2B5EF4-FFF2-40B4-BE49-F238E27FC236}">
                  <a16:creationId xmlns:a16="http://schemas.microsoft.com/office/drawing/2014/main" id="{E0573B79-1771-4810-98DE-4A37E5AB94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5064" y="386061"/>
              <a:ext cx="45932" cy="28651"/>
            </a:xfrm>
            <a:custGeom>
              <a:avLst/>
              <a:gdLst>
                <a:gd name="T0" fmla="*/ 2147483647 w 205"/>
                <a:gd name="T1" fmla="*/ 2147483647 h 129"/>
                <a:gd name="T2" fmla="*/ 0 w 205"/>
                <a:gd name="T3" fmla="*/ 2147483647 h 129"/>
                <a:gd name="T4" fmla="*/ 2147483647 w 205"/>
                <a:gd name="T5" fmla="*/ 0 h 129"/>
                <a:gd name="T6" fmla="*/ 2147483647 w 205"/>
                <a:gd name="T7" fmla="*/ 0 h 129"/>
                <a:gd name="T8" fmla="*/ 2147483647 w 205"/>
                <a:gd name="T9" fmla="*/ 2147483647 h 12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5"/>
                <a:gd name="T16" fmla="*/ 0 h 129"/>
                <a:gd name="T17" fmla="*/ 205 w 205"/>
                <a:gd name="T18" fmla="*/ 129 h 12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5" h="129">
                  <a:moveTo>
                    <a:pt x="93" y="129"/>
                  </a:moveTo>
                  <a:lnTo>
                    <a:pt x="0" y="129"/>
                  </a:lnTo>
                  <a:lnTo>
                    <a:pt x="112" y="0"/>
                  </a:lnTo>
                  <a:lnTo>
                    <a:pt x="205" y="0"/>
                  </a:lnTo>
                  <a:lnTo>
                    <a:pt x="93" y="129"/>
                  </a:lnTo>
                  <a:close/>
                </a:path>
              </a:pathLst>
            </a:custGeom>
            <a:solidFill>
              <a:srgbClr val="FF0026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14174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altLang="ja-JP" sz="1351" b="0" i="0" u="none" strike="noStrike" kern="0" cap="none" spc="0" normalizeH="0" baseline="0" noProof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uLnTx/>
                <a:uFillTx/>
                <a:latin typeface="HGPｺﾞｼｯｸE" pitchFamily="50" charset="-128"/>
                <a:ea typeface="HGPｺﾞｼｯｸE" pitchFamily="50" charset="-128"/>
                <a:cs typeface="+mn-cs"/>
              </a:endParaRPr>
            </a:p>
          </p:txBody>
        </p:sp>
      </p:grpSp>
      <p:pic>
        <p:nvPicPr>
          <p:cNvPr id="37895" name="Picture 7">
            <a:extLst>
              <a:ext uri="{FF2B5EF4-FFF2-40B4-BE49-F238E27FC236}">
                <a16:creationId xmlns:a16="http://schemas.microsoft.com/office/drawing/2014/main" id="{928DEFFE-714F-0244-8F82-2E900035142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014" b="29560"/>
          <a:stretch/>
        </p:blipFill>
        <p:spPr bwMode="auto">
          <a:xfrm>
            <a:off x="1259758" y="73424"/>
            <a:ext cx="1754073" cy="403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7644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  <p:sldLayoutId id="2147483809" r:id="rId11"/>
    <p:sldLayoutId id="2147483810" r:id="rId12"/>
    <p:sldLayoutId id="2147483811" r:id="rId13"/>
    <p:sldLayoutId id="2147483812" r:id="rId14"/>
    <p:sldLayoutId id="2147483813" r:id="rId15"/>
    <p:sldLayoutId id="2147483814" r:id="rId16"/>
    <p:sldLayoutId id="2147483815" r:id="rId17"/>
    <p:sldLayoutId id="2147483816" r:id="rId18"/>
    <p:sldLayoutId id="2147483817" r:id="rId19"/>
    <p:sldLayoutId id="2147483818" r:id="rId20"/>
  </p:sldLayoutIdLst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lang="en-US" sz="1800" b="1" kern="1200" cap="all" spc="0" baseline="0" dirty="0">
          <a:ln w="6350" cap="flat">
            <a:noFill/>
            <a:miter lim="800000"/>
          </a:ln>
          <a:solidFill>
            <a:schemeClr val="accent6"/>
          </a:solidFill>
          <a:latin typeface="+mn-lt"/>
          <a:ea typeface="+mn-ea"/>
          <a:cs typeface="+mn-cs"/>
        </a:defRPr>
      </a:lvl1pPr>
    </p:titleStyle>
    <p:bodyStyle>
      <a:lvl1pPr marL="0" indent="0" algn="l" defTabSz="914354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89" indent="-228589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890" indent="-210301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30" indent="-155440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776" indent="-146296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0000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image" Target="../media/image36.png"/><Relationship Id="rId3" Type="http://schemas.openxmlformats.org/officeDocument/2006/relationships/image" Target="../media/image21.png"/><Relationship Id="rId21" Type="http://schemas.openxmlformats.org/officeDocument/2006/relationships/image" Target="../media/image39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image" Target="../media/image35.png"/><Relationship Id="rId2" Type="http://schemas.openxmlformats.org/officeDocument/2006/relationships/image" Target="../media/image20.png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24" Type="http://schemas.openxmlformats.org/officeDocument/2006/relationships/image" Target="../media/image42.png"/><Relationship Id="rId5" Type="http://schemas.openxmlformats.org/officeDocument/2006/relationships/image" Target="../media/image23.png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8.png"/><Relationship Id="rId19" Type="http://schemas.openxmlformats.org/officeDocument/2006/relationships/image" Target="../media/image37.png"/><Relationship Id="rId4" Type="http://schemas.openxmlformats.org/officeDocument/2006/relationships/image" Target="../media/image22.pn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tiff"/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66.xml"/><Relationship Id="rId4" Type="http://schemas.openxmlformats.org/officeDocument/2006/relationships/image" Target="../media/image45.tif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jpeg"/><Relationship Id="rId3" Type="http://schemas.openxmlformats.org/officeDocument/2006/relationships/image" Target="../media/image46.png"/><Relationship Id="rId7" Type="http://schemas.openxmlformats.org/officeDocument/2006/relationships/image" Target="../media/image5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49.jpeg"/><Relationship Id="rId5" Type="http://schemas.openxmlformats.org/officeDocument/2006/relationships/image" Target="../media/image48.png"/><Relationship Id="rId10" Type="http://schemas.microsoft.com/office/2007/relationships/hdphoto" Target="../media/hdphoto1.wdp"/><Relationship Id="rId4" Type="http://schemas.openxmlformats.org/officeDocument/2006/relationships/image" Target="../media/image47.png"/><Relationship Id="rId9" Type="http://schemas.openxmlformats.org/officeDocument/2006/relationships/image" Target="../media/image5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27.xml"/><Relationship Id="rId7" Type="http://schemas.openxmlformats.org/officeDocument/2006/relationships/image" Target="../media/image53.emf"/><Relationship Id="rId2" Type="http://schemas.openxmlformats.org/officeDocument/2006/relationships/tags" Target="../tags/tag626.xml"/><Relationship Id="rId1" Type="http://schemas.openxmlformats.org/officeDocument/2006/relationships/vmlDrawing" Target="../drawings/vmlDrawing91.vml"/><Relationship Id="rId6" Type="http://schemas.openxmlformats.org/officeDocument/2006/relationships/oleObject" Target="../embeddings/oleObject9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9AD7D2CE-54FA-4AA6-AD01-BAC95B1680E7}"/>
              </a:ext>
            </a:extLst>
          </p:cNvPr>
          <p:cNvSpPr/>
          <p:nvPr/>
        </p:nvSpPr>
        <p:spPr>
          <a:xfrm>
            <a:off x="0" y="-11017"/>
            <a:ext cx="12192000" cy="1855606"/>
          </a:xfrm>
          <a:prstGeom prst="rect">
            <a:avLst/>
          </a:prstGeom>
          <a:solidFill>
            <a:schemeClr val="accent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" name="object 41">
            <a:extLst>
              <a:ext uri="{FF2B5EF4-FFF2-40B4-BE49-F238E27FC236}">
                <a16:creationId xmlns:a16="http://schemas.microsoft.com/office/drawing/2014/main" id="{91416572-AD47-4C77-B538-422FAFEE00E5}"/>
              </a:ext>
            </a:extLst>
          </p:cNvPr>
          <p:cNvGrpSpPr/>
          <p:nvPr/>
        </p:nvGrpSpPr>
        <p:grpSpPr>
          <a:xfrm>
            <a:off x="229861" y="2409194"/>
            <a:ext cx="12191391" cy="4138320"/>
            <a:chOff x="0" y="3863219"/>
            <a:chExt cx="20104507" cy="6824396"/>
          </a:xfrm>
        </p:grpSpPr>
        <p:sp>
          <p:nvSpPr>
            <p:cNvPr id="6" name="object 42">
              <a:extLst>
                <a:ext uri="{FF2B5EF4-FFF2-40B4-BE49-F238E27FC236}">
                  <a16:creationId xmlns:a16="http://schemas.microsoft.com/office/drawing/2014/main" id="{84C30ABC-DE0B-4CA3-8833-6892EF6D544E}"/>
                </a:ext>
              </a:extLst>
            </p:cNvPr>
            <p:cNvSpPr/>
            <p:nvPr/>
          </p:nvSpPr>
          <p:spPr>
            <a:xfrm>
              <a:off x="3695077" y="5574391"/>
              <a:ext cx="9442450" cy="3867150"/>
            </a:xfrm>
            <a:custGeom>
              <a:avLst/>
              <a:gdLst/>
              <a:ahLst/>
              <a:cxnLst/>
              <a:rect l="l" t="t" r="r" b="b"/>
              <a:pathLst>
                <a:path w="9442450" h="3867150">
                  <a:moveTo>
                    <a:pt x="622401" y="3211753"/>
                  </a:moveTo>
                  <a:lnTo>
                    <a:pt x="0" y="3211753"/>
                  </a:lnTo>
                  <a:lnTo>
                    <a:pt x="0" y="3867048"/>
                  </a:lnTo>
                  <a:lnTo>
                    <a:pt x="622401" y="3867048"/>
                  </a:lnTo>
                  <a:lnTo>
                    <a:pt x="622401" y="3211753"/>
                  </a:lnTo>
                  <a:close/>
                </a:path>
                <a:path w="9442450" h="3867150">
                  <a:moveTo>
                    <a:pt x="2321039" y="1756181"/>
                  </a:moveTo>
                  <a:lnTo>
                    <a:pt x="1925650" y="1756181"/>
                  </a:lnTo>
                  <a:lnTo>
                    <a:pt x="1925650" y="1883714"/>
                  </a:lnTo>
                  <a:lnTo>
                    <a:pt x="1066215" y="1883714"/>
                  </a:lnTo>
                  <a:lnTo>
                    <a:pt x="1066215" y="3867048"/>
                  </a:lnTo>
                  <a:lnTo>
                    <a:pt x="2011641" y="3867048"/>
                  </a:lnTo>
                  <a:lnTo>
                    <a:pt x="2011641" y="2858097"/>
                  </a:lnTo>
                  <a:lnTo>
                    <a:pt x="2149094" y="2858097"/>
                  </a:lnTo>
                  <a:lnTo>
                    <a:pt x="2149094" y="3867048"/>
                  </a:lnTo>
                  <a:lnTo>
                    <a:pt x="2313482" y="3867048"/>
                  </a:lnTo>
                  <a:lnTo>
                    <a:pt x="2313482" y="2858097"/>
                  </a:lnTo>
                  <a:lnTo>
                    <a:pt x="2321039" y="2858097"/>
                  </a:lnTo>
                  <a:lnTo>
                    <a:pt x="2321039" y="2446642"/>
                  </a:lnTo>
                  <a:lnTo>
                    <a:pt x="2321039" y="1756181"/>
                  </a:lnTo>
                  <a:close/>
                </a:path>
                <a:path w="9442450" h="3867150">
                  <a:moveTo>
                    <a:pt x="5906300" y="564553"/>
                  </a:moveTo>
                  <a:lnTo>
                    <a:pt x="5363476" y="564553"/>
                  </a:lnTo>
                  <a:lnTo>
                    <a:pt x="5363476" y="1143520"/>
                  </a:lnTo>
                  <a:lnTo>
                    <a:pt x="5191582" y="1143520"/>
                  </a:lnTo>
                  <a:lnTo>
                    <a:pt x="5191582" y="262813"/>
                  </a:lnTo>
                  <a:lnTo>
                    <a:pt x="4899368" y="262813"/>
                  </a:lnTo>
                  <a:lnTo>
                    <a:pt x="4899368" y="1143520"/>
                  </a:lnTo>
                  <a:lnTo>
                    <a:pt x="4602124" y="1143520"/>
                  </a:lnTo>
                  <a:lnTo>
                    <a:pt x="4602124" y="1285938"/>
                  </a:lnTo>
                  <a:lnTo>
                    <a:pt x="3535896" y="1285938"/>
                  </a:lnTo>
                  <a:lnTo>
                    <a:pt x="3535896" y="3867048"/>
                  </a:lnTo>
                  <a:lnTo>
                    <a:pt x="5906300" y="3867048"/>
                  </a:lnTo>
                  <a:lnTo>
                    <a:pt x="5906300" y="564553"/>
                  </a:lnTo>
                  <a:close/>
                </a:path>
                <a:path w="9442450" h="3867150">
                  <a:moveTo>
                    <a:pt x="6664795" y="974217"/>
                  </a:moveTo>
                  <a:lnTo>
                    <a:pt x="6447333" y="974217"/>
                  </a:lnTo>
                  <a:lnTo>
                    <a:pt x="6447333" y="48895"/>
                  </a:lnTo>
                  <a:lnTo>
                    <a:pt x="6002007" y="48895"/>
                  </a:lnTo>
                  <a:lnTo>
                    <a:pt x="6002007" y="1172832"/>
                  </a:lnTo>
                  <a:lnTo>
                    <a:pt x="6002007" y="1652066"/>
                  </a:lnTo>
                  <a:lnTo>
                    <a:pt x="6372619" y="1652066"/>
                  </a:lnTo>
                  <a:lnTo>
                    <a:pt x="6447333" y="1652066"/>
                  </a:lnTo>
                  <a:lnTo>
                    <a:pt x="6664795" y="1652066"/>
                  </a:lnTo>
                  <a:lnTo>
                    <a:pt x="6664795" y="974217"/>
                  </a:lnTo>
                  <a:close/>
                </a:path>
                <a:path w="9442450" h="3867150">
                  <a:moveTo>
                    <a:pt x="7534415" y="0"/>
                  </a:moveTo>
                  <a:lnTo>
                    <a:pt x="6789598" y="0"/>
                  </a:lnTo>
                  <a:lnTo>
                    <a:pt x="6789598" y="3867048"/>
                  </a:lnTo>
                  <a:lnTo>
                    <a:pt x="7329030" y="3867048"/>
                  </a:lnTo>
                  <a:lnTo>
                    <a:pt x="7488453" y="3867048"/>
                  </a:lnTo>
                  <a:lnTo>
                    <a:pt x="7534415" y="3867048"/>
                  </a:lnTo>
                  <a:lnTo>
                    <a:pt x="7534415" y="0"/>
                  </a:lnTo>
                  <a:close/>
                </a:path>
                <a:path w="9442450" h="3867150">
                  <a:moveTo>
                    <a:pt x="8727554" y="262813"/>
                  </a:moveTo>
                  <a:lnTo>
                    <a:pt x="8435327" y="262813"/>
                  </a:lnTo>
                  <a:lnTo>
                    <a:pt x="8435327" y="784415"/>
                  </a:lnTo>
                  <a:lnTo>
                    <a:pt x="8727554" y="784415"/>
                  </a:lnTo>
                  <a:lnTo>
                    <a:pt x="8727554" y="262813"/>
                  </a:lnTo>
                  <a:close/>
                </a:path>
                <a:path w="9442450" h="3867150">
                  <a:moveTo>
                    <a:pt x="9442247" y="564553"/>
                  </a:moveTo>
                  <a:lnTo>
                    <a:pt x="8899423" y="564553"/>
                  </a:lnTo>
                  <a:lnTo>
                    <a:pt x="8899423" y="1143520"/>
                  </a:lnTo>
                  <a:lnTo>
                    <a:pt x="8727554" y="1143520"/>
                  </a:lnTo>
                  <a:lnTo>
                    <a:pt x="8727554" y="879716"/>
                  </a:lnTo>
                  <a:lnTo>
                    <a:pt x="8435327" y="879716"/>
                  </a:lnTo>
                  <a:lnTo>
                    <a:pt x="8435327" y="1143520"/>
                  </a:lnTo>
                  <a:lnTo>
                    <a:pt x="8079346" y="1143520"/>
                  </a:lnTo>
                  <a:lnTo>
                    <a:pt x="8079346" y="615607"/>
                  </a:lnTo>
                  <a:lnTo>
                    <a:pt x="7744968" y="615607"/>
                  </a:lnTo>
                  <a:lnTo>
                    <a:pt x="7744968" y="1143520"/>
                  </a:lnTo>
                  <a:lnTo>
                    <a:pt x="7558659" y="1143520"/>
                  </a:lnTo>
                  <a:lnTo>
                    <a:pt x="7558659" y="3867048"/>
                  </a:lnTo>
                  <a:lnTo>
                    <a:pt x="8625510" y="3867048"/>
                  </a:lnTo>
                  <a:lnTo>
                    <a:pt x="8795448" y="3867048"/>
                  </a:lnTo>
                  <a:lnTo>
                    <a:pt x="8968118" y="3867048"/>
                  </a:lnTo>
                  <a:lnTo>
                    <a:pt x="8968118" y="1214691"/>
                  </a:lnTo>
                  <a:lnTo>
                    <a:pt x="9442247" y="1214691"/>
                  </a:lnTo>
                  <a:lnTo>
                    <a:pt x="9442247" y="564553"/>
                  </a:lnTo>
                  <a:close/>
                </a:path>
              </a:pathLst>
            </a:custGeom>
            <a:solidFill>
              <a:srgbClr val="C2E7D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object 43">
              <a:extLst>
                <a:ext uri="{FF2B5EF4-FFF2-40B4-BE49-F238E27FC236}">
                  <a16:creationId xmlns:a16="http://schemas.microsoft.com/office/drawing/2014/main" id="{F4C5966E-D970-4C27-AE5F-E51F604A9B01}"/>
                </a:ext>
              </a:extLst>
            </p:cNvPr>
            <p:cNvSpPr/>
            <p:nvPr/>
          </p:nvSpPr>
          <p:spPr>
            <a:xfrm>
              <a:off x="4317479" y="7690377"/>
              <a:ext cx="1328420" cy="1751330"/>
            </a:xfrm>
            <a:custGeom>
              <a:avLst/>
              <a:gdLst/>
              <a:ahLst/>
              <a:cxnLst/>
              <a:rect l="l" t="t" r="r" b="b"/>
              <a:pathLst>
                <a:path w="1328420" h="1751329">
                  <a:moveTo>
                    <a:pt x="626986" y="568960"/>
                  </a:moveTo>
                  <a:lnTo>
                    <a:pt x="0" y="568960"/>
                  </a:lnTo>
                  <a:lnTo>
                    <a:pt x="0" y="1751063"/>
                  </a:lnTo>
                  <a:lnTo>
                    <a:pt x="626986" y="1751063"/>
                  </a:lnTo>
                  <a:lnTo>
                    <a:pt x="626986" y="568960"/>
                  </a:lnTo>
                  <a:close/>
                </a:path>
                <a:path w="1328420" h="1751329">
                  <a:moveTo>
                    <a:pt x="1328039" y="0"/>
                  </a:moveTo>
                  <a:lnTo>
                    <a:pt x="776605" y="0"/>
                  </a:lnTo>
                  <a:lnTo>
                    <a:pt x="776605" y="1751063"/>
                  </a:lnTo>
                  <a:lnTo>
                    <a:pt x="1328039" y="1751063"/>
                  </a:lnTo>
                  <a:lnTo>
                    <a:pt x="1328039" y="0"/>
                  </a:lnTo>
                  <a:close/>
                </a:path>
              </a:pathLst>
            </a:custGeom>
            <a:solidFill>
              <a:srgbClr val="9ADBD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object 44">
              <a:extLst>
                <a:ext uri="{FF2B5EF4-FFF2-40B4-BE49-F238E27FC236}">
                  <a16:creationId xmlns:a16="http://schemas.microsoft.com/office/drawing/2014/main" id="{72A4C3B7-DCFD-4EC2-9A7B-09C412A864A2}"/>
                </a:ext>
              </a:extLst>
            </p:cNvPr>
            <p:cNvSpPr/>
            <p:nvPr/>
          </p:nvSpPr>
          <p:spPr>
            <a:xfrm>
              <a:off x="6314668" y="7026573"/>
              <a:ext cx="509270" cy="1543050"/>
            </a:xfrm>
            <a:custGeom>
              <a:avLst/>
              <a:gdLst/>
              <a:ahLst/>
              <a:cxnLst/>
              <a:rect l="l" t="t" r="r" b="b"/>
              <a:pathLst>
                <a:path w="509270" h="1543050">
                  <a:moveTo>
                    <a:pt x="509270" y="0"/>
                  </a:moveTo>
                  <a:lnTo>
                    <a:pt x="0" y="0"/>
                  </a:lnTo>
                  <a:lnTo>
                    <a:pt x="0" y="1542618"/>
                  </a:lnTo>
                  <a:lnTo>
                    <a:pt x="107264" y="1542618"/>
                  </a:lnTo>
                  <a:lnTo>
                    <a:pt x="217131" y="1542618"/>
                  </a:lnTo>
                  <a:lnTo>
                    <a:pt x="354609" y="1542618"/>
                  </a:lnTo>
                  <a:lnTo>
                    <a:pt x="367626" y="1542618"/>
                  </a:lnTo>
                  <a:lnTo>
                    <a:pt x="509270" y="1542618"/>
                  </a:lnTo>
                  <a:lnTo>
                    <a:pt x="509270" y="0"/>
                  </a:lnTo>
                  <a:close/>
                </a:path>
              </a:pathLst>
            </a:custGeom>
            <a:solidFill>
              <a:srgbClr val="C2E7D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" name="object 45">
              <a:extLst>
                <a:ext uri="{FF2B5EF4-FFF2-40B4-BE49-F238E27FC236}">
                  <a16:creationId xmlns:a16="http://schemas.microsoft.com/office/drawing/2014/main" id="{F20D047D-7CEC-4194-9B90-435DDD9F1526}"/>
                </a:ext>
              </a:extLst>
            </p:cNvPr>
            <p:cNvSpPr/>
            <p:nvPr/>
          </p:nvSpPr>
          <p:spPr>
            <a:xfrm>
              <a:off x="4120222" y="6794747"/>
              <a:ext cx="8370570" cy="2647315"/>
            </a:xfrm>
            <a:custGeom>
              <a:avLst/>
              <a:gdLst/>
              <a:ahLst/>
              <a:cxnLst/>
              <a:rect l="l" t="t" r="r" b="b"/>
              <a:pathLst>
                <a:path w="8370570" h="2647315">
                  <a:moveTo>
                    <a:pt x="394423" y="2158250"/>
                  </a:moveTo>
                  <a:lnTo>
                    <a:pt x="0" y="2158250"/>
                  </a:lnTo>
                  <a:lnTo>
                    <a:pt x="0" y="2646692"/>
                  </a:lnTo>
                  <a:lnTo>
                    <a:pt x="394423" y="2646692"/>
                  </a:lnTo>
                  <a:lnTo>
                    <a:pt x="394423" y="2158250"/>
                  </a:lnTo>
                  <a:close/>
                </a:path>
                <a:path w="8370570" h="2647315">
                  <a:moveTo>
                    <a:pt x="6903885" y="431711"/>
                  </a:moveTo>
                  <a:lnTo>
                    <a:pt x="5246192" y="431711"/>
                  </a:lnTo>
                  <a:lnTo>
                    <a:pt x="5246192" y="178054"/>
                  </a:lnTo>
                  <a:lnTo>
                    <a:pt x="4575060" y="178054"/>
                  </a:lnTo>
                  <a:lnTo>
                    <a:pt x="4575060" y="1669732"/>
                  </a:lnTo>
                  <a:lnTo>
                    <a:pt x="4456684" y="1669732"/>
                  </a:lnTo>
                  <a:lnTo>
                    <a:pt x="4456684" y="304177"/>
                  </a:lnTo>
                  <a:lnTo>
                    <a:pt x="3906088" y="304177"/>
                  </a:lnTo>
                  <a:lnTo>
                    <a:pt x="3906088" y="1098486"/>
                  </a:lnTo>
                  <a:lnTo>
                    <a:pt x="3560356" y="1098486"/>
                  </a:lnTo>
                  <a:lnTo>
                    <a:pt x="3560356" y="2158250"/>
                  </a:lnTo>
                  <a:lnTo>
                    <a:pt x="3482898" y="2158250"/>
                  </a:lnTo>
                  <a:lnTo>
                    <a:pt x="3482898" y="706932"/>
                  </a:lnTo>
                  <a:lnTo>
                    <a:pt x="2562072" y="706932"/>
                  </a:lnTo>
                  <a:lnTo>
                    <a:pt x="2562072" y="1774444"/>
                  </a:lnTo>
                  <a:lnTo>
                    <a:pt x="2301710" y="1774444"/>
                  </a:lnTo>
                  <a:lnTo>
                    <a:pt x="2301710" y="1226286"/>
                  </a:lnTo>
                  <a:lnTo>
                    <a:pt x="1888337" y="1226286"/>
                  </a:lnTo>
                  <a:lnTo>
                    <a:pt x="1888337" y="1637741"/>
                  </a:lnTo>
                  <a:lnTo>
                    <a:pt x="1101686" y="1637741"/>
                  </a:lnTo>
                  <a:lnTo>
                    <a:pt x="1101686" y="1997341"/>
                  </a:lnTo>
                  <a:lnTo>
                    <a:pt x="627849" y="1997341"/>
                  </a:lnTo>
                  <a:lnTo>
                    <a:pt x="627849" y="2646692"/>
                  </a:lnTo>
                  <a:lnTo>
                    <a:pt x="1101686" y="2646692"/>
                  </a:lnTo>
                  <a:lnTo>
                    <a:pt x="1249553" y="2646692"/>
                  </a:lnTo>
                  <a:lnTo>
                    <a:pt x="6903885" y="2646692"/>
                  </a:lnTo>
                  <a:lnTo>
                    <a:pt x="6903885" y="431711"/>
                  </a:lnTo>
                  <a:close/>
                </a:path>
                <a:path w="8370570" h="2647315">
                  <a:moveTo>
                    <a:pt x="8370303" y="484251"/>
                  </a:moveTo>
                  <a:lnTo>
                    <a:pt x="8200364" y="484251"/>
                  </a:lnTo>
                  <a:lnTo>
                    <a:pt x="8200364" y="0"/>
                  </a:lnTo>
                  <a:lnTo>
                    <a:pt x="7063308" y="0"/>
                  </a:lnTo>
                  <a:lnTo>
                    <a:pt x="7063308" y="2092464"/>
                  </a:lnTo>
                  <a:lnTo>
                    <a:pt x="6903898" y="2092464"/>
                  </a:lnTo>
                  <a:lnTo>
                    <a:pt x="6903898" y="2646692"/>
                  </a:lnTo>
                  <a:lnTo>
                    <a:pt x="8370303" y="2646692"/>
                  </a:lnTo>
                  <a:lnTo>
                    <a:pt x="8370303" y="2586532"/>
                  </a:lnTo>
                  <a:lnTo>
                    <a:pt x="8370303" y="484251"/>
                  </a:lnTo>
                  <a:close/>
                </a:path>
              </a:pathLst>
            </a:custGeom>
            <a:solidFill>
              <a:srgbClr val="9ADBD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" name="object 46">
              <a:extLst>
                <a:ext uri="{FF2B5EF4-FFF2-40B4-BE49-F238E27FC236}">
                  <a16:creationId xmlns:a16="http://schemas.microsoft.com/office/drawing/2014/main" id="{E4B1C4D2-EBA6-4035-9353-31921AE10F4D}"/>
                </a:ext>
              </a:extLst>
            </p:cNvPr>
            <p:cNvSpPr/>
            <p:nvPr/>
          </p:nvSpPr>
          <p:spPr>
            <a:xfrm>
              <a:off x="13042366" y="5326754"/>
              <a:ext cx="697230" cy="4114800"/>
            </a:xfrm>
            <a:custGeom>
              <a:avLst/>
              <a:gdLst/>
              <a:ahLst/>
              <a:cxnLst/>
              <a:rect l="l" t="t" r="r" b="b"/>
              <a:pathLst>
                <a:path w="697230" h="4114800">
                  <a:moveTo>
                    <a:pt x="85750" y="4054525"/>
                  </a:moveTo>
                  <a:lnTo>
                    <a:pt x="0" y="4054525"/>
                  </a:lnTo>
                  <a:lnTo>
                    <a:pt x="0" y="4114685"/>
                  </a:lnTo>
                  <a:lnTo>
                    <a:pt x="85750" y="4114685"/>
                  </a:lnTo>
                  <a:lnTo>
                    <a:pt x="85750" y="4054525"/>
                  </a:lnTo>
                  <a:close/>
                </a:path>
                <a:path w="697230" h="4114800">
                  <a:moveTo>
                    <a:pt x="697039" y="0"/>
                  </a:moveTo>
                  <a:lnTo>
                    <a:pt x="190677" y="0"/>
                  </a:lnTo>
                  <a:lnTo>
                    <a:pt x="190677" y="4114685"/>
                  </a:lnTo>
                  <a:lnTo>
                    <a:pt x="697039" y="4114685"/>
                  </a:lnTo>
                  <a:lnTo>
                    <a:pt x="697039" y="0"/>
                  </a:lnTo>
                  <a:close/>
                </a:path>
              </a:pathLst>
            </a:custGeom>
            <a:solidFill>
              <a:srgbClr val="C2E7D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object 47">
              <a:extLst>
                <a:ext uri="{FF2B5EF4-FFF2-40B4-BE49-F238E27FC236}">
                  <a16:creationId xmlns:a16="http://schemas.microsoft.com/office/drawing/2014/main" id="{FC9FC8B4-7777-40C6-8264-C3427C1DD66B}"/>
                </a:ext>
              </a:extLst>
            </p:cNvPr>
            <p:cNvSpPr/>
            <p:nvPr/>
          </p:nvSpPr>
          <p:spPr>
            <a:xfrm>
              <a:off x="12490526" y="7863503"/>
              <a:ext cx="1126490" cy="1577975"/>
            </a:xfrm>
            <a:custGeom>
              <a:avLst/>
              <a:gdLst/>
              <a:ahLst/>
              <a:cxnLst/>
              <a:rect l="l" t="t" r="r" b="b"/>
              <a:pathLst>
                <a:path w="1126490" h="1577975">
                  <a:moveTo>
                    <a:pt x="1126439" y="0"/>
                  </a:moveTo>
                  <a:lnTo>
                    <a:pt x="637590" y="0"/>
                  </a:lnTo>
                  <a:lnTo>
                    <a:pt x="637590" y="677316"/>
                  </a:lnTo>
                  <a:lnTo>
                    <a:pt x="0" y="677316"/>
                  </a:lnTo>
                  <a:lnTo>
                    <a:pt x="0" y="1517777"/>
                  </a:lnTo>
                  <a:lnTo>
                    <a:pt x="0" y="1577936"/>
                  </a:lnTo>
                  <a:lnTo>
                    <a:pt x="637590" y="1577936"/>
                  </a:lnTo>
                  <a:lnTo>
                    <a:pt x="850176" y="1577936"/>
                  </a:lnTo>
                  <a:lnTo>
                    <a:pt x="1126439" y="1577936"/>
                  </a:lnTo>
                  <a:lnTo>
                    <a:pt x="1126439" y="1517777"/>
                  </a:lnTo>
                  <a:lnTo>
                    <a:pt x="1126439" y="0"/>
                  </a:lnTo>
                  <a:close/>
                </a:path>
              </a:pathLst>
            </a:custGeom>
            <a:solidFill>
              <a:srgbClr val="9ADBD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object 48">
              <a:extLst>
                <a:ext uri="{FF2B5EF4-FFF2-40B4-BE49-F238E27FC236}">
                  <a16:creationId xmlns:a16="http://schemas.microsoft.com/office/drawing/2014/main" id="{8CCF54ED-5F68-4749-AA3B-12795CBB4F7D}"/>
                </a:ext>
              </a:extLst>
            </p:cNvPr>
            <p:cNvSpPr/>
            <p:nvPr/>
          </p:nvSpPr>
          <p:spPr>
            <a:xfrm>
              <a:off x="14020648" y="6414166"/>
              <a:ext cx="2817495" cy="3027680"/>
            </a:xfrm>
            <a:custGeom>
              <a:avLst/>
              <a:gdLst/>
              <a:ahLst/>
              <a:cxnLst/>
              <a:rect l="l" t="t" r="r" b="b"/>
              <a:pathLst>
                <a:path w="2817494" h="3027679">
                  <a:moveTo>
                    <a:pt x="2029320" y="684758"/>
                  </a:moveTo>
                  <a:lnTo>
                    <a:pt x="1583232" y="684758"/>
                  </a:lnTo>
                  <a:lnTo>
                    <a:pt x="1583232" y="916406"/>
                  </a:lnTo>
                  <a:lnTo>
                    <a:pt x="1069111" y="916406"/>
                  </a:lnTo>
                  <a:lnTo>
                    <a:pt x="1069111" y="718032"/>
                  </a:lnTo>
                  <a:lnTo>
                    <a:pt x="1069111" y="486524"/>
                  </a:lnTo>
                  <a:lnTo>
                    <a:pt x="744816" y="486524"/>
                  </a:lnTo>
                  <a:lnTo>
                    <a:pt x="744816" y="0"/>
                  </a:lnTo>
                  <a:lnTo>
                    <a:pt x="0" y="0"/>
                  </a:lnTo>
                  <a:lnTo>
                    <a:pt x="0" y="3027273"/>
                  </a:lnTo>
                  <a:lnTo>
                    <a:pt x="744816" y="3027273"/>
                  </a:lnTo>
                  <a:lnTo>
                    <a:pt x="744816" y="2224544"/>
                  </a:lnTo>
                  <a:lnTo>
                    <a:pt x="955344" y="2224544"/>
                  </a:lnTo>
                  <a:lnTo>
                    <a:pt x="1069111" y="2224544"/>
                  </a:lnTo>
                  <a:lnTo>
                    <a:pt x="1289672" y="2224544"/>
                  </a:lnTo>
                  <a:lnTo>
                    <a:pt x="1925942" y="2224544"/>
                  </a:lnTo>
                  <a:lnTo>
                    <a:pt x="1925942" y="1243126"/>
                  </a:lnTo>
                  <a:lnTo>
                    <a:pt x="2029320" y="1243126"/>
                  </a:lnTo>
                  <a:lnTo>
                    <a:pt x="2029320" y="684758"/>
                  </a:lnTo>
                  <a:close/>
                </a:path>
                <a:path w="2817494" h="3027679">
                  <a:moveTo>
                    <a:pt x="2816987" y="2373858"/>
                  </a:moveTo>
                  <a:lnTo>
                    <a:pt x="2657437" y="2373858"/>
                  </a:lnTo>
                  <a:lnTo>
                    <a:pt x="2657437" y="1445958"/>
                  </a:lnTo>
                  <a:lnTo>
                    <a:pt x="2298204" y="1445958"/>
                  </a:lnTo>
                  <a:lnTo>
                    <a:pt x="2298204" y="2158568"/>
                  </a:lnTo>
                  <a:lnTo>
                    <a:pt x="2298204" y="3027273"/>
                  </a:lnTo>
                  <a:lnTo>
                    <a:pt x="2309190" y="3027273"/>
                  </a:lnTo>
                  <a:lnTo>
                    <a:pt x="2498001" y="3027273"/>
                  </a:lnTo>
                  <a:lnTo>
                    <a:pt x="2657437" y="3027273"/>
                  </a:lnTo>
                  <a:lnTo>
                    <a:pt x="2816987" y="3027273"/>
                  </a:lnTo>
                  <a:lnTo>
                    <a:pt x="2816987" y="2373858"/>
                  </a:lnTo>
                  <a:close/>
                </a:path>
              </a:pathLst>
            </a:custGeom>
            <a:solidFill>
              <a:srgbClr val="C2E7D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object 49">
              <a:extLst>
                <a:ext uri="{FF2B5EF4-FFF2-40B4-BE49-F238E27FC236}">
                  <a16:creationId xmlns:a16="http://schemas.microsoft.com/office/drawing/2014/main" id="{78A09266-A8D8-4442-8146-3C4E066B08EF}"/>
                </a:ext>
              </a:extLst>
            </p:cNvPr>
            <p:cNvSpPr/>
            <p:nvPr/>
          </p:nvSpPr>
          <p:spPr>
            <a:xfrm>
              <a:off x="9578899" y="6747224"/>
              <a:ext cx="6740525" cy="2694305"/>
            </a:xfrm>
            <a:custGeom>
              <a:avLst/>
              <a:gdLst/>
              <a:ahLst/>
              <a:cxnLst/>
              <a:rect l="l" t="t" r="r" b="b"/>
              <a:pathLst>
                <a:path w="6740525" h="2694304">
                  <a:moveTo>
                    <a:pt x="361340" y="0"/>
                  </a:moveTo>
                  <a:lnTo>
                    <a:pt x="0" y="0"/>
                  </a:lnTo>
                  <a:lnTo>
                    <a:pt x="0" y="2694216"/>
                  </a:lnTo>
                  <a:lnTo>
                    <a:pt x="361340" y="2694216"/>
                  </a:lnTo>
                  <a:lnTo>
                    <a:pt x="361340" y="0"/>
                  </a:lnTo>
                  <a:close/>
                </a:path>
                <a:path w="6740525" h="2694304">
                  <a:moveTo>
                    <a:pt x="6739953" y="910069"/>
                  </a:moveTo>
                  <a:lnTo>
                    <a:pt x="5879338" y="910069"/>
                  </a:lnTo>
                  <a:lnTo>
                    <a:pt x="5879338" y="1891487"/>
                  </a:lnTo>
                  <a:lnTo>
                    <a:pt x="5100663" y="1891487"/>
                  </a:lnTo>
                  <a:lnTo>
                    <a:pt x="5100663" y="384975"/>
                  </a:lnTo>
                  <a:lnTo>
                    <a:pt x="3931793" y="384975"/>
                  </a:lnTo>
                  <a:lnTo>
                    <a:pt x="3931793" y="2694216"/>
                  </a:lnTo>
                  <a:lnTo>
                    <a:pt x="4676152" y="2694216"/>
                  </a:lnTo>
                  <a:lnTo>
                    <a:pt x="5100663" y="2694216"/>
                  </a:lnTo>
                  <a:lnTo>
                    <a:pt x="5879338" y="2694216"/>
                  </a:lnTo>
                  <a:lnTo>
                    <a:pt x="6739953" y="2694216"/>
                  </a:lnTo>
                  <a:lnTo>
                    <a:pt x="6739953" y="1891487"/>
                  </a:lnTo>
                  <a:lnTo>
                    <a:pt x="6739953" y="910069"/>
                  </a:lnTo>
                  <a:close/>
                </a:path>
              </a:pathLst>
            </a:custGeom>
            <a:solidFill>
              <a:srgbClr val="9ADBD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object 50">
              <a:extLst>
                <a:ext uri="{FF2B5EF4-FFF2-40B4-BE49-F238E27FC236}">
                  <a16:creationId xmlns:a16="http://schemas.microsoft.com/office/drawing/2014/main" id="{E65EC34B-15E6-40CE-9280-A424CD263B95}"/>
                </a:ext>
              </a:extLst>
            </p:cNvPr>
            <p:cNvSpPr/>
            <p:nvPr/>
          </p:nvSpPr>
          <p:spPr>
            <a:xfrm>
              <a:off x="12361319" y="6789070"/>
              <a:ext cx="793750" cy="2592705"/>
            </a:xfrm>
            <a:custGeom>
              <a:avLst/>
              <a:gdLst/>
              <a:ahLst/>
              <a:cxnLst/>
              <a:rect l="l" t="t" r="r" b="b"/>
              <a:pathLst>
                <a:path w="793750" h="2592704">
                  <a:moveTo>
                    <a:pt x="793420" y="0"/>
                  </a:moveTo>
                  <a:lnTo>
                    <a:pt x="0" y="0"/>
                  </a:lnTo>
                  <a:lnTo>
                    <a:pt x="0" y="2592203"/>
                  </a:lnTo>
                  <a:lnTo>
                    <a:pt x="793420" y="2592203"/>
                  </a:lnTo>
                  <a:lnTo>
                    <a:pt x="793420" y="0"/>
                  </a:lnTo>
                  <a:close/>
                </a:path>
              </a:pathLst>
            </a:custGeom>
            <a:solidFill>
              <a:srgbClr val="90CAC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bject 51">
              <a:extLst>
                <a:ext uri="{FF2B5EF4-FFF2-40B4-BE49-F238E27FC236}">
                  <a16:creationId xmlns:a16="http://schemas.microsoft.com/office/drawing/2014/main" id="{0C0AC0A3-C378-4730-ABBA-897A96030868}"/>
                </a:ext>
              </a:extLst>
            </p:cNvPr>
            <p:cNvSpPr/>
            <p:nvPr/>
          </p:nvSpPr>
          <p:spPr>
            <a:xfrm>
              <a:off x="12818971" y="7002886"/>
              <a:ext cx="335915" cy="79375"/>
            </a:xfrm>
            <a:custGeom>
              <a:avLst/>
              <a:gdLst/>
              <a:ahLst/>
              <a:cxnLst/>
              <a:rect l="l" t="t" r="r" b="b"/>
              <a:pathLst>
                <a:path w="335915" h="79375">
                  <a:moveTo>
                    <a:pt x="335769" y="0"/>
                  </a:moveTo>
                  <a:lnTo>
                    <a:pt x="0" y="0"/>
                  </a:lnTo>
                  <a:lnTo>
                    <a:pt x="0" y="78772"/>
                  </a:lnTo>
                  <a:lnTo>
                    <a:pt x="335769" y="78772"/>
                  </a:lnTo>
                  <a:lnTo>
                    <a:pt x="335769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object 52">
              <a:extLst>
                <a:ext uri="{FF2B5EF4-FFF2-40B4-BE49-F238E27FC236}">
                  <a16:creationId xmlns:a16="http://schemas.microsoft.com/office/drawing/2014/main" id="{6FCB794B-1DA6-4E71-A3AF-37BD1B7742AB}"/>
                </a:ext>
              </a:extLst>
            </p:cNvPr>
            <p:cNvSpPr/>
            <p:nvPr/>
          </p:nvSpPr>
          <p:spPr>
            <a:xfrm>
              <a:off x="12640295" y="7002886"/>
              <a:ext cx="118110" cy="79375"/>
            </a:xfrm>
            <a:custGeom>
              <a:avLst/>
              <a:gdLst/>
              <a:ahLst/>
              <a:cxnLst/>
              <a:rect l="l" t="t" r="r" b="b"/>
              <a:pathLst>
                <a:path w="118109" h="79375">
                  <a:moveTo>
                    <a:pt x="117734" y="0"/>
                  </a:moveTo>
                  <a:lnTo>
                    <a:pt x="0" y="0"/>
                  </a:lnTo>
                  <a:lnTo>
                    <a:pt x="0" y="78772"/>
                  </a:lnTo>
                  <a:lnTo>
                    <a:pt x="117734" y="78772"/>
                  </a:lnTo>
                  <a:lnTo>
                    <a:pt x="11773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object 53">
              <a:extLst>
                <a:ext uri="{FF2B5EF4-FFF2-40B4-BE49-F238E27FC236}">
                  <a16:creationId xmlns:a16="http://schemas.microsoft.com/office/drawing/2014/main" id="{871742AA-D8DF-42F2-BAD7-96228A96139F}"/>
                </a:ext>
              </a:extLst>
            </p:cNvPr>
            <p:cNvSpPr/>
            <p:nvPr/>
          </p:nvSpPr>
          <p:spPr>
            <a:xfrm>
              <a:off x="12361316" y="7002887"/>
              <a:ext cx="793750" cy="551815"/>
            </a:xfrm>
            <a:custGeom>
              <a:avLst/>
              <a:gdLst/>
              <a:ahLst/>
              <a:cxnLst/>
              <a:rect l="l" t="t" r="r" b="b"/>
              <a:pathLst>
                <a:path w="793750" h="551815">
                  <a:moveTo>
                    <a:pt x="211455" y="0"/>
                  </a:moveTo>
                  <a:lnTo>
                    <a:pt x="12" y="0"/>
                  </a:lnTo>
                  <a:lnTo>
                    <a:pt x="12" y="78778"/>
                  </a:lnTo>
                  <a:lnTo>
                    <a:pt x="211455" y="78778"/>
                  </a:lnTo>
                  <a:lnTo>
                    <a:pt x="211455" y="0"/>
                  </a:lnTo>
                  <a:close/>
                </a:path>
                <a:path w="793750" h="551815">
                  <a:moveTo>
                    <a:pt x="275767" y="315125"/>
                  </a:moveTo>
                  <a:lnTo>
                    <a:pt x="0" y="315125"/>
                  </a:lnTo>
                  <a:lnTo>
                    <a:pt x="0" y="393903"/>
                  </a:lnTo>
                  <a:lnTo>
                    <a:pt x="275767" y="393903"/>
                  </a:lnTo>
                  <a:lnTo>
                    <a:pt x="275767" y="315125"/>
                  </a:lnTo>
                  <a:close/>
                </a:path>
                <a:path w="793750" h="551815">
                  <a:moveTo>
                    <a:pt x="595490" y="157556"/>
                  </a:moveTo>
                  <a:lnTo>
                    <a:pt x="457657" y="157556"/>
                  </a:lnTo>
                  <a:lnTo>
                    <a:pt x="457657" y="236347"/>
                  </a:lnTo>
                  <a:lnTo>
                    <a:pt x="595490" y="236347"/>
                  </a:lnTo>
                  <a:lnTo>
                    <a:pt x="595490" y="157556"/>
                  </a:lnTo>
                  <a:close/>
                </a:path>
                <a:path w="793750" h="551815">
                  <a:moveTo>
                    <a:pt x="733348" y="315125"/>
                  </a:moveTo>
                  <a:lnTo>
                    <a:pt x="337832" y="315125"/>
                  </a:lnTo>
                  <a:lnTo>
                    <a:pt x="337832" y="393903"/>
                  </a:lnTo>
                  <a:lnTo>
                    <a:pt x="733348" y="393903"/>
                  </a:lnTo>
                  <a:lnTo>
                    <a:pt x="733348" y="315125"/>
                  </a:lnTo>
                  <a:close/>
                </a:path>
                <a:path w="793750" h="551815">
                  <a:moveTo>
                    <a:pt x="793419" y="472694"/>
                  </a:moveTo>
                  <a:lnTo>
                    <a:pt x="457644" y="472694"/>
                  </a:lnTo>
                  <a:lnTo>
                    <a:pt x="457644" y="551459"/>
                  </a:lnTo>
                  <a:lnTo>
                    <a:pt x="793419" y="551459"/>
                  </a:lnTo>
                  <a:lnTo>
                    <a:pt x="793419" y="472694"/>
                  </a:lnTo>
                  <a:close/>
                </a:path>
                <a:path w="793750" h="551815">
                  <a:moveTo>
                    <a:pt x="793419" y="157556"/>
                  </a:moveTo>
                  <a:lnTo>
                    <a:pt x="655561" y="157556"/>
                  </a:lnTo>
                  <a:lnTo>
                    <a:pt x="655561" y="236347"/>
                  </a:lnTo>
                  <a:lnTo>
                    <a:pt x="793419" y="236347"/>
                  </a:lnTo>
                  <a:lnTo>
                    <a:pt x="793419" y="157556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object 54">
              <a:extLst>
                <a:ext uri="{FF2B5EF4-FFF2-40B4-BE49-F238E27FC236}">
                  <a16:creationId xmlns:a16="http://schemas.microsoft.com/office/drawing/2014/main" id="{B8DB7D16-F0EB-4547-A5D9-957F98C605B7}"/>
                </a:ext>
              </a:extLst>
            </p:cNvPr>
            <p:cNvSpPr/>
            <p:nvPr/>
          </p:nvSpPr>
          <p:spPr>
            <a:xfrm>
              <a:off x="12437726" y="7475573"/>
              <a:ext cx="320675" cy="79375"/>
            </a:xfrm>
            <a:custGeom>
              <a:avLst/>
              <a:gdLst/>
              <a:ahLst/>
              <a:cxnLst/>
              <a:rect l="l" t="t" r="r" b="b"/>
              <a:pathLst>
                <a:path w="320675" h="79375">
                  <a:moveTo>
                    <a:pt x="320304" y="0"/>
                  </a:moveTo>
                  <a:lnTo>
                    <a:pt x="0" y="0"/>
                  </a:lnTo>
                  <a:lnTo>
                    <a:pt x="0" y="78772"/>
                  </a:lnTo>
                  <a:lnTo>
                    <a:pt x="320304" y="78772"/>
                  </a:lnTo>
                  <a:lnTo>
                    <a:pt x="32030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object 55">
              <a:extLst>
                <a:ext uri="{FF2B5EF4-FFF2-40B4-BE49-F238E27FC236}">
                  <a16:creationId xmlns:a16="http://schemas.microsoft.com/office/drawing/2014/main" id="{9123FA4F-30E9-405E-9618-4DC141D02EB5}"/>
                </a:ext>
              </a:extLst>
            </p:cNvPr>
            <p:cNvSpPr/>
            <p:nvPr/>
          </p:nvSpPr>
          <p:spPr>
            <a:xfrm>
              <a:off x="12453099" y="7633112"/>
              <a:ext cx="470534" cy="79375"/>
            </a:xfrm>
            <a:custGeom>
              <a:avLst/>
              <a:gdLst/>
              <a:ahLst/>
              <a:cxnLst/>
              <a:rect l="l" t="t" r="r" b="b"/>
              <a:pathLst>
                <a:path w="470534" h="79375">
                  <a:moveTo>
                    <a:pt x="104317" y="0"/>
                  </a:moveTo>
                  <a:lnTo>
                    <a:pt x="0" y="0"/>
                  </a:lnTo>
                  <a:lnTo>
                    <a:pt x="0" y="78778"/>
                  </a:lnTo>
                  <a:lnTo>
                    <a:pt x="104317" y="78778"/>
                  </a:lnTo>
                  <a:lnTo>
                    <a:pt x="104317" y="0"/>
                  </a:lnTo>
                  <a:close/>
                </a:path>
                <a:path w="470534" h="79375">
                  <a:moveTo>
                    <a:pt x="469950" y="0"/>
                  </a:moveTo>
                  <a:lnTo>
                    <a:pt x="187185" y="0"/>
                  </a:lnTo>
                  <a:lnTo>
                    <a:pt x="187185" y="78778"/>
                  </a:lnTo>
                  <a:lnTo>
                    <a:pt x="469950" y="78778"/>
                  </a:lnTo>
                  <a:lnTo>
                    <a:pt x="469950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object 56">
              <a:extLst>
                <a:ext uri="{FF2B5EF4-FFF2-40B4-BE49-F238E27FC236}">
                  <a16:creationId xmlns:a16="http://schemas.microsoft.com/office/drawing/2014/main" id="{34182EB0-5071-4A21-B928-005E9F7C36CE}"/>
                </a:ext>
              </a:extLst>
            </p:cNvPr>
            <p:cNvSpPr/>
            <p:nvPr/>
          </p:nvSpPr>
          <p:spPr>
            <a:xfrm>
              <a:off x="12818971" y="7790674"/>
              <a:ext cx="276225" cy="79375"/>
            </a:xfrm>
            <a:custGeom>
              <a:avLst/>
              <a:gdLst/>
              <a:ahLst/>
              <a:cxnLst/>
              <a:rect l="l" t="t" r="r" b="b"/>
              <a:pathLst>
                <a:path w="276225" h="79375">
                  <a:moveTo>
                    <a:pt x="275698" y="0"/>
                  </a:moveTo>
                  <a:lnTo>
                    <a:pt x="0" y="0"/>
                  </a:lnTo>
                  <a:lnTo>
                    <a:pt x="0" y="78772"/>
                  </a:lnTo>
                  <a:lnTo>
                    <a:pt x="275698" y="78772"/>
                  </a:lnTo>
                  <a:lnTo>
                    <a:pt x="2756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object 57">
              <a:extLst>
                <a:ext uri="{FF2B5EF4-FFF2-40B4-BE49-F238E27FC236}">
                  <a16:creationId xmlns:a16="http://schemas.microsoft.com/office/drawing/2014/main" id="{296FAF01-EBF7-4C0D-B956-E87BF31A8789}"/>
                </a:ext>
              </a:extLst>
            </p:cNvPr>
            <p:cNvSpPr/>
            <p:nvPr/>
          </p:nvSpPr>
          <p:spPr>
            <a:xfrm>
              <a:off x="12361316" y="7790681"/>
              <a:ext cx="793750" cy="394335"/>
            </a:xfrm>
            <a:custGeom>
              <a:avLst/>
              <a:gdLst/>
              <a:ahLst/>
              <a:cxnLst/>
              <a:rect l="l" t="t" r="r" b="b"/>
              <a:pathLst>
                <a:path w="793750" h="394334">
                  <a:moveTo>
                    <a:pt x="213423" y="157556"/>
                  </a:moveTo>
                  <a:lnTo>
                    <a:pt x="0" y="157556"/>
                  </a:lnTo>
                  <a:lnTo>
                    <a:pt x="0" y="236321"/>
                  </a:lnTo>
                  <a:lnTo>
                    <a:pt x="213423" y="236321"/>
                  </a:lnTo>
                  <a:lnTo>
                    <a:pt x="213423" y="157556"/>
                  </a:lnTo>
                  <a:close/>
                </a:path>
                <a:path w="793750" h="394334">
                  <a:moveTo>
                    <a:pt x="396709" y="0"/>
                  </a:moveTo>
                  <a:lnTo>
                    <a:pt x="120992" y="0"/>
                  </a:lnTo>
                  <a:lnTo>
                    <a:pt x="120992" y="78765"/>
                  </a:lnTo>
                  <a:lnTo>
                    <a:pt x="396709" y="78765"/>
                  </a:lnTo>
                  <a:lnTo>
                    <a:pt x="396709" y="0"/>
                  </a:lnTo>
                  <a:close/>
                </a:path>
                <a:path w="793750" h="394334">
                  <a:moveTo>
                    <a:pt x="526592" y="157556"/>
                  </a:moveTo>
                  <a:lnTo>
                    <a:pt x="337832" y="157556"/>
                  </a:lnTo>
                  <a:lnTo>
                    <a:pt x="337832" y="236321"/>
                  </a:lnTo>
                  <a:lnTo>
                    <a:pt x="526592" y="236321"/>
                  </a:lnTo>
                  <a:lnTo>
                    <a:pt x="526592" y="157556"/>
                  </a:lnTo>
                  <a:close/>
                </a:path>
                <a:path w="793750" h="394334">
                  <a:moveTo>
                    <a:pt x="685482" y="157556"/>
                  </a:moveTo>
                  <a:lnTo>
                    <a:pt x="591121" y="157556"/>
                  </a:lnTo>
                  <a:lnTo>
                    <a:pt x="591121" y="236321"/>
                  </a:lnTo>
                  <a:lnTo>
                    <a:pt x="685482" y="236321"/>
                  </a:lnTo>
                  <a:lnTo>
                    <a:pt x="685482" y="157556"/>
                  </a:lnTo>
                  <a:close/>
                </a:path>
                <a:path w="793750" h="394334">
                  <a:moveTo>
                    <a:pt x="793419" y="315099"/>
                  </a:moveTo>
                  <a:lnTo>
                    <a:pt x="457644" y="315099"/>
                  </a:lnTo>
                  <a:lnTo>
                    <a:pt x="457644" y="393877"/>
                  </a:lnTo>
                  <a:lnTo>
                    <a:pt x="793419" y="393877"/>
                  </a:lnTo>
                  <a:lnTo>
                    <a:pt x="793419" y="315099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object 58">
              <a:extLst>
                <a:ext uri="{FF2B5EF4-FFF2-40B4-BE49-F238E27FC236}">
                  <a16:creationId xmlns:a16="http://schemas.microsoft.com/office/drawing/2014/main" id="{3AA8CE53-AE97-46CF-AD1B-9ECA8C572976}"/>
                </a:ext>
              </a:extLst>
            </p:cNvPr>
            <p:cNvSpPr/>
            <p:nvPr/>
          </p:nvSpPr>
          <p:spPr>
            <a:xfrm>
              <a:off x="12434930" y="8105774"/>
              <a:ext cx="276225" cy="79375"/>
            </a:xfrm>
            <a:custGeom>
              <a:avLst/>
              <a:gdLst/>
              <a:ahLst/>
              <a:cxnLst/>
              <a:rect l="l" t="t" r="r" b="b"/>
              <a:pathLst>
                <a:path w="276225" h="79375">
                  <a:moveTo>
                    <a:pt x="275719" y="0"/>
                  </a:moveTo>
                  <a:lnTo>
                    <a:pt x="0" y="0"/>
                  </a:lnTo>
                  <a:lnTo>
                    <a:pt x="0" y="78782"/>
                  </a:lnTo>
                  <a:lnTo>
                    <a:pt x="275719" y="78782"/>
                  </a:lnTo>
                  <a:lnTo>
                    <a:pt x="27571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object 59">
              <a:extLst>
                <a:ext uri="{FF2B5EF4-FFF2-40B4-BE49-F238E27FC236}">
                  <a16:creationId xmlns:a16="http://schemas.microsoft.com/office/drawing/2014/main" id="{CBCA02DA-1A20-47D8-A2BC-79B720564220}"/>
                </a:ext>
              </a:extLst>
            </p:cNvPr>
            <p:cNvSpPr/>
            <p:nvPr/>
          </p:nvSpPr>
          <p:spPr>
            <a:xfrm>
              <a:off x="12359640" y="8263324"/>
              <a:ext cx="735330" cy="394335"/>
            </a:xfrm>
            <a:custGeom>
              <a:avLst/>
              <a:gdLst/>
              <a:ahLst/>
              <a:cxnLst/>
              <a:rect l="l" t="t" r="r" b="b"/>
              <a:pathLst>
                <a:path w="735330" h="394334">
                  <a:moveTo>
                    <a:pt x="197777" y="315112"/>
                  </a:moveTo>
                  <a:lnTo>
                    <a:pt x="0" y="315112"/>
                  </a:lnTo>
                  <a:lnTo>
                    <a:pt x="0" y="393877"/>
                  </a:lnTo>
                  <a:lnTo>
                    <a:pt x="197777" y="393877"/>
                  </a:lnTo>
                  <a:lnTo>
                    <a:pt x="197777" y="315112"/>
                  </a:lnTo>
                  <a:close/>
                </a:path>
                <a:path w="735330" h="394334">
                  <a:moveTo>
                    <a:pt x="398386" y="157581"/>
                  </a:moveTo>
                  <a:lnTo>
                    <a:pt x="122669" y="157581"/>
                  </a:lnTo>
                  <a:lnTo>
                    <a:pt x="122669" y="236347"/>
                  </a:lnTo>
                  <a:lnTo>
                    <a:pt x="398386" y="236347"/>
                  </a:lnTo>
                  <a:lnTo>
                    <a:pt x="398386" y="157581"/>
                  </a:lnTo>
                  <a:close/>
                </a:path>
                <a:path w="735330" h="394334">
                  <a:moveTo>
                    <a:pt x="398386" y="0"/>
                  </a:moveTo>
                  <a:lnTo>
                    <a:pt x="280644" y="0"/>
                  </a:lnTo>
                  <a:lnTo>
                    <a:pt x="280644" y="78778"/>
                  </a:lnTo>
                  <a:lnTo>
                    <a:pt x="398386" y="78778"/>
                  </a:lnTo>
                  <a:lnTo>
                    <a:pt x="398386" y="0"/>
                  </a:lnTo>
                  <a:close/>
                </a:path>
                <a:path w="735330" h="394334">
                  <a:moveTo>
                    <a:pt x="537286" y="315112"/>
                  </a:moveTo>
                  <a:lnTo>
                    <a:pt x="339521" y="315112"/>
                  </a:lnTo>
                  <a:lnTo>
                    <a:pt x="339521" y="393877"/>
                  </a:lnTo>
                  <a:lnTo>
                    <a:pt x="537286" y="393877"/>
                  </a:lnTo>
                  <a:lnTo>
                    <a:pt x="537286" y="315112"/>
                  </a:lnTo>
                  <a:close/>
                </a:path>
                <a:path w="735330" h="394334">
                  <a:moveTo>
                    <a:pt x="597166" y="0"/>
                  </a:moveTo>
                  <a:lnTo>
                    <a:pt x="459333" y="0"/>
                  </a:lnTo>
                  <a:lnTo>
                    <a:pt x="459333" y="78778"/>
                  </a:lnTo>
                  <a:lnTo>
                    <a:pt x="597166" y="78778"/>
                  </a:lnTo>
                  <a:lnTo>
                    <a:pt x="597166" y="0"/>
                  </a:lnTo>
                  <a:close/>
                </a:path>
                <a:path w="735330" h="394334">
                  <a:moveTo>
                    <a:pt x="735025" y="157581"/>
                  </a:moveTo>
                  <a:lnTo>
                    <a:pt x="597166" y="157581"/>
                  </a:lnTo>
                  <a:lnTo>
                    <a:pt x="597166" y="236347"/>
                  </a:lnTo>
                  <a:lnTo>
                    <a:pt x="735025" y="236347"/>
                  </a:lnTo>
                  <a:lnTo>
                    <a:pt x="735025" y="157581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object 60">
              <a:extLst>
                <a:ext uri="{FF2B5EF4-FFF2-40B4-BE49-F238E27FC236}">
                  <a16:creationId xmlns:a16="http://schemas.microsoft.com/office/drawing/2014/main" id="{0A80F8AB-197F-42BB-8DF6-3190D67EEB9D}"/>
                </a:ext>
              </a:extLst>
            </p:cNvPr>
            <p:cNvSpPr/>
            <p:nvPr/>
          </p:nvSpPr>
          <p:spPr>
            <a:xfrm>
              <a:off x="12818971" y="8735964"/>
              <a:ext cx="276225" cy="79375"/>
            </a:xfrm>
            <a:custGeom>
              <a:avLst/>
              <a:gdLst/>
              <a:ahLst/>
              <a:cxnLst/>
              <a:rect l="l" t="t" r="r" b="b"/>
              <a:pathLst>
                <a:path w="276225" h="79375">
                  <a:moveTo>
                    <a:pt x="275698" y="0"/>
                  </a:moveTo>
                  <a:lnTo>
                    <a:pt x="0" y="0"/>
                  </a:lnTo>
                  <a:lnTo>
                    <a:pt x="0" y="78782"/>
                  </a:lnTo>
                  <a:lnTo>
                    <a:pt x="275698" y="78782"/>
                  </a:lnTo>
                  <a:lnTo>
                    <a:pt x="27569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object 61">
              <a:extLst>
                <a:ext uri="{FF2B5EF4-FFF2-40B4-BE49-F238E27FC236}">
                  <a16:creationId xmlns:a16="http://schemas.microsoft.com/office/drawing/2014/main" id="{62E06E97-2327-4357-A82A-FB9560183B99}"/>
                </a:ext>
              </a:extLst>
            </p:cNvPr>
            <p:cNvSpPr/>
            <p:nvPr/>
          </p:nvSpPr>
          <p:spPr>
            <a:xfrm>
              <a:off x="12482310" y="8735967"/>
              <a:ext cx="612775" cy="394335"/>
            </a:xfrm>
            <a:custGeom>
              <a:avLst/>
              <a:gdLst/>
              <a:ahLst/>
              <a:cxnLst/>
              <a:rect l="l" t="t" r="r" b="b"/>
              <a:pathLst>
                <a:path w="612775" h="394334">
                  <a:moveTo>
                    <a:pt x="275717" y="0"/>
                  </a:moveTo>
                  <a:lnTo>
                    <a:pt x="0" y="0"/>
                  </a:lnTo>
                  <a:lnTo>
                    <a:pt x="0" y="78790"/>
                  </a:lnTo>
                  <a:lnTo>
                    <a:pt x="275717" y="78790"/>
                  </a:lnTo>
                  <a:lnTo>
                    <a:pt x="275717" y="0"/>
                  </a:lnTo>
                  <a:close/>
                </a:path>
                <a:path w="612775" h="394334">
                  <a:moveTo>
                    <a:pt x="437248" y="157568"/>
                  </a:moveTo>
                  <a:lnTo>
                    <a:pt x="161531" y="157568"/>
                  </a:lnTo>
                  <a:lnTo>
                    <a:pt x="161531" y="236347"/>
                  </a:lnTo>
                  <a:lnTo>
                    <a:pt x="437248" y="236347"/>
                  </a:lnTo>
                  <a:lnTo>
                    <a:pt x="437248" y="157568"/>
                  </a:lnTo>
                  <a:close/>
                </a:path>
                <a:path w="612775" h="394334">
                  <a:moveTo>
                    <a:pt x="612355" y="315137"/>
                  </a:moveTo>
                  <a:lnTo>
                    <a:pt x="336651" y="315137"/>
                  </a:lnTo>
                  <a:lnTo>
                    <a:pt x="336651" y="393903"/>
                  </a:lnTo>
                  <a:lnTo>
                    <a:pt x="612355" y="393903"/>
                  </a:lnTo>
                  <a:lnTo>
                    <a:pt x="612355" y="315137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object 62">
              <a:extLst>
                <a:ext uri="{FF2B5EF4-FFF2-40B4-BE49-F238E27FC236}">
                  <a16:creationId xmlns:a16="http://schemas.microsoft.com/office/drawing/2014/main" id="{3F69DF59-0FB9-4843-973F-52FB04FF4041}"/>
                </a:ext>
              </a:extLst>
            </p:cNvPr>
            <p:cNvSpPr/>
            <p:nvPr/>
          </p:nvSpPr>
          <p:spPr>
            <a:xfrm>
              <a:off x="12361319" y="9051096"/>
              <a:ext cx="281940" cy="79375"/>
            </a:xfrm>
            <a:custGeom>
              <a:avLst/>
              <a:gdLst/>
              <a:ahLst/>
              <a:cxnLst/>
              <a:rect l="l" t="t" r="r" b="b"/>
              <a:pathLst>
                <a:path w="281940" h="79375">
                  <a:moveTo>
                    <a:pt x="281802" y="0"/>
                  </a:moveTo>
                  <a:lnTo>
                    <a:pt x="0" y="0"/>
                  </a:lnTo>
                  <a:lnTo>
                    <a:pt x="0" y="78772"/>
                  </a:lnTo>
                  <a:lnTo>
                    <a:pt x="281802" y="78772"/>
                  </a:lnTo>
                  <a:lnTo>
                    <a:pt x="2818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object 63">
              <a:extLst>
                <a:ext uri="{FF2B5EF4-FFF2-40B4-BE49-F238E27FC236}">
                  <a16:creationId xmlns:a16="http://schemas.microsoft.com/office/drawing/2014/main" id="{D258983A-B4FB-4217-B44F-DC989C77A7A6}"/>
                </a:ext>
              </a:extLst>
            </p:cNvPr>
            <p:cNvSpPr/>
            <p:nvPr/>
          </p:nvSpPr>
          <p:spPr>
            <a:xfrm>
              <a:off x="12361373" y="6789201"/>
              <a:ext cx="793750" cy="2592070"/>
            </a:xfrm>
            <a:custGeom>
              <a:avLst/>
              <a:gdLst/>
              <a:ahLst/>
              <a:cxnLst/>
              <a:rect l="l" t="t" r="r" b="b"/>
              <a:pathLst>
                <a:path w="793750" h="2592070">
                  <a:moveTo>
                    <a:pt x="793326" y="0"/>
                  </a:moveTo>
                  <a:lnTo>
                    <a:pt x="0" y="2592025"/>
                  </a:lnTo>
                  <a:lnTo>
                    <a:pt x="793326" y="2592057"/>
                  </a:lnTo>
                  <a:lnTo>
                    <a:pt x="793326" y="0"/>
                  </a:lnTo>
                  <a:close/>
                </a:path>
              </a:pathLst>
            </a:custGeom>
            <a:solidFill>
              <a:srgbClr val="01005B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object 64">
              <a:extLst>
                <a:ext uri="{FF2B5EF4-FFF2-40B4-BE49-F238E27FC236}">
                  <a16:creationId xmlns:a16="http://schemas.microsoft.com/office/drawing/2014/main" id="{8FE578E0-126B-42D2-8A7B-17A40ABB706D}"/>
                </a:ext>
              </a:extLst>
            </p:cNvPr>
            <p:cNvSpPr/>
            <p:nvPr/>
          </p:nvSpPr>
          <p:spPr>
            <a:xfrm>
              <a:off x="11584165" y="6245243"/>
              <a:ext cx="960119" cy="3136265"/>
            </a:xfrm>
            <a:custGeom>
              <a:avLst/>
              <a:gdLst/>
              <a:ahLst/>
              <a:cxnLst/>
              <a:rect l="l" t="t" r="r" b="b"/>
              <a:pathLst>
                <a:path w="960120" h="3136265">
                  <a:moveTo>
                    <a:pt x="959827" y="208864"/>
                  </a:moveTo>
                  <a:lnTo>
                    <a:pt x="0" y="208864"/>
                  </a:lnTo>
                  <a:lnTo>
                    <a:pt x="0" y="3136023"/>
                  </a:lnTo>
                  <a:lnTo>
                    <a:pt x="959827" y="3136023"/>
                  </a:lnTo>
                  <a:lnTo>
                    <a:pt x="959827" y="208864"/>
                  </a:lnTo>
                  <a:close/>
                </a:path>
                <a:path w="960120" h="3136265">
                  <a:moveTo>
                    <a:pt x="959827" y="0"/>
                  </a:moveTo>
                  <a:lnTo>
                    <a:pt x="0" y="0"/>
                  </a:lnTo>
                  <a:lnTo>
                    <a:pt x="0" y="113563"/>
                  </a:lnTo>
                  <a:lnTo>
                    <a:pt x="959827" y="113563"/>
                  </a:lnTo>
                  <a:lnTo>
                    <a:pt x="959827" y="0"/>
                  </a:lnTo>
                  <a:close/>
                </a:path>
              </a:pathLst>
            </a:custGeom>
            <a:solidFill>
              <a:srgbClr val="90CAC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object 65">
              <a:extLst>
                <a:ext uri="{FF2B5EF4-FFF2-40B4-BE49-F238E27FC236}">
                  <a16:creationId xmlns:a16="http://schemas.microsoft.com/office/drawing/2014/main" id="{AB8D8806-3F5A-4F2E-9101-0D29FFD5EB23}"/>
                </a:ext>
              </a:extLst>
            </p:cNvPr>
            <p:cNvSpPr/>
            <p:nvPr/>
          </p:nvSpPr>
          <p:spPr>
            <a:xfrm>
              <a:off x="12137776" y="9027254"/>
              <a:ext cx="406400" cy="95885"/>
            </a:xfrm>
            <a:custGeom>
              <a:avLst/>
              <a:gdLst/>
              <a:ahLst/>
              <a:cxnLst/>
              <a:rect l="l" t="t" r="r" b="b"/>
              <a:pathLst>
                <a:path w="406400" h="95884">
                  <a:moveTo>
                    <a:pt x="406217" y="0"/>
                  </a:moveTo>
                  <a:lnTo>
                    <a:pt x="0" y="0"/>
                  </a:lnTo>
                  <a:lnTo>
                    <a:pt x="0" y="95305"/>
                  </a:lnTo>
                  <a:lnTo>
                    <a:pt x="406217" y="95305"/>
                  </a:lnTo>
                  <a:lnTo>
                    <a:pt x="406217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object 66">
              <a:extLst>
                <a:ext uri="{FF2B5EF4-FFF2-40B4-BE49-F238E27FC236}">
                  <a16:creationId xmlns:a16="http://schemas.microsoft.com/office/drawing/2014/main" id="{9FBC6CED-9859-4D7D-A6B0-FD0ED727A313}"/>
                </a:ext>
              </a:extLst>
            </p:cNvPr>
            <p:cNvSpPr/>
            <p:nvPr/>
          </p:nvSpPr>
          <p:spPr>
            <a:xfrm>
              <a:off x="11921636" y="9027254"/>
              <a:ext cx="142875" cy="95885"/>
            </a:xfrm>
            <a:custGeom>
              <a:avLst/>
              <a:gdLst/>
              <a:ahLst/>
              <a:cxnLst/>
              <a:rect l="l" t="t" r="r" b="b"/>
              <a:pathLst>
                <a:path w="142875" h="95884">
                  <a:moveTo>
                    <a:pt x="142445" y="0"/>
                  </a:moveTo>
                  <a:lnTo>
                    <a:pt x="0" y="0"/>
                  </a:lnTo>
                  <a:lnTo>
                    <a:pt x="0" y="95305"/>
                  </a:lnTo>
                  <a:lnTo>
                    <a:pt x="142445" y="95305"/>
                  </a:lnTo>
                  <a:lnTo>
                    <a:pt x="14244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object 67">
              <a:extLst>
                <a:ext uri="{FF2B5EF4-FFF2-40B4-BE49-F238E27FC236}">
                  <a16:creationId xmlns:a16="http://schemas.microsoft.com/office/drawing/2014/main" id="{83B57442-C124-498D-9645-F02F42DD7ABB}"/>
                </a:ext>
              </a:extLst>
            </p:cNvPr>
            <p:cNvSpPr/>
            <p:nvPr/>
          </p:nvSpPr>
          <p:spPr>
            <a:xfrm>
              <a:off x="11584153" y="8455475"/>
              <a:ext cx="960119" cy="667385"/>
            </a:xfrm>
            <a:custGeom>
              <a:avLst/>
              <a:gdLst/>
              <a:ahLst/>
              <a:cxnLst/>
              <a:rect l="l" t="t" r="r" b="b"/>
              <a:pathLst>
                <a:path w="960120" h="667384">
                  <a:moveTo>
                    <a:pt x="255790" y="571779"/>
                  </a:moveTo>
                  <a:lnTo>
                    <a:pt x="0" y="571779"/>
                  </a:lnTo>
                  <a:lnTo>
                    <a:pt x="0" y="667092"/>
                  </a:lnTo>
                  <a:lnTo>
                    <a:pt x="255790" y="667092"/>
                  </a:lnTo>
                  <a:lnTo>
                    <a:pt x="255790" y="571779"/>
                  </a:lnTo>
                  <a:close/>
                </a:path>
                <a:path w="960120" h="667384">
                  <a:moveTo>
                    <a:pt x="333565" y="190576"/>
                  </a:moveTo>
                  <a:lnTo>
                    <a:pt x="0" y="190576"/>
                  </a:lnTo>
                  <a:lnTo>
                    <a:pt x="0" y="285889"/>
                  </a:lnTo>
                  <a:lnTo>
                    <a:pt x="333565" y="285889"/>
                  </a:lnTo>
                  <a:lnTo>
                    <a:pt x="333565" y="190576"/>
                  </a:lnTo>
                  <a:close/>
                </a:path>
                <a:path w="960120" h="667384">
                  <a:moveTo>
                    <a:pt x="720382" y="381177"/>
                  </a:moveTo>
                  <a:lnTo>
                    <a:pt x="553618" y="381177"/>
                  </a:lnTo>
                  <a:lnTo>
                    <a:pt x="553618" y="476491"/>
                  </a:lnTo>
                  <a:lnTo>
                    <a:pt x="720382" y="476491"/>
                  </a:lnTo>
                  <a:lnTo>
                    <a:pt x="720382" y="381177"/>
                  </a:lnTo>
                  <a:close/>
                </a:path>
                <a:path w="960120" h="667384">
                  <a:moveTo>
                    <a:pt x="887171" y="190576"/>
                  </a:moveTo>
                  <a:lnTo>
                    <a:pt x="408711" y="190576"/>
                  </a:lnTo>
                  <a:lnTo>
                    <a:pt x="408711" y="285889"/>
                  </a:lnTo>
                  <a:lnTo>
                    <a:pt x="887171" y="285889"/>
                  </a:lnTo>
                  <a:lnTo>
                    <a:pt x="887171" y="190576"/>
                  </a:lnTo>
                  <a:close/>
                </a:path>
                <a:path w="960120" h="667384">
                  <a:moveTo>
                    <a:pt x="959840" y="381177"/>
                  </a:moveTo>
                  <a:lnTo>
                    <a:pt x="793064" y="381177"/>
                  </a:lnTo>
                  <a:lnTo>
                    <a:pt x="793064" y="476491"/>
                  </a:lnTo>
                  <a:lnTo>
                    <a:pt x="959840" y="476491"/>
                  </a:lnTo>
                  <a:lnTo>
                    <a:pt x="959840" y="381177"/>
                  </a:lnTo>
                  <a:close/>
                </a:path>
                <a:path w="960120" h="667384">
                  <a:moveTo>
                    <a:pt x="959840" y="0"/>
                  </a:moveTo>
                  <a:lnTo>
                    <a:pt x="553618" y="0"/>
                  </a:lnTo>
                  <a:lnTo>
                    <a:pt x="553618" y="95300"/>
                  </a:lnTo>
                  <a:lnTo>
                    <a:pt x="959840" y="95300"/>
                  </a:lnTo>
                  <a:lnTo>
                    <a:pt x="959840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bject 68">
              <a:extLst>
                <a:ext uri="{FF2B5EF4-FFF2-40B4-BE49-F238E27FC236}">
                  <a16:creationId xmlns:a16="http://schemas.microsoft.com/office/drawing/2014/main" id="{599ED2D5-2789-4291-B2DB-946E402FE743}"/>
                </a:ext>
              </a:extLst>
            </p:cNvPr>
            <p:cNvSpPr/>
            <p:nvPr/>
          </p:nvSpPr>
          <p:spPr>
            <a:xfrm>
              <a:off x="11676565" y="8455470"/>
              <a:ext cx="387985" cy="95885"/>
            </a:xfrm>
            <a:custGeom>
              <a:avLst/>
              <a:gdLst/>
              <a:ahLst/>
              <a:cxnLst/>
              <a:rect l="l" t="t" r="r" b="b"/>
              <a:pathLst>
                <a:path w="387984" h="95884">
                  <a:moveTo>
                    <a:pt x="387516" y="0"/>
                  </a:moveTo>
                  <a:lnTo>
                    <a:pt x="0" y="0"/>
                  </a:lnTo>
                  <a:lnTo>
                    <a:pt x="0" y="95305"/>
                  </a:lnTo>
                  <a:lnTo>
                    <a:pt x="387516" y="95305"/>
                  </a:lnTo>
                  <a:lnTo>
                    <a:pt x="3875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object 69">
              <a:extLst>
                <a:ext uri="{FF2B5EF4-FFF2-40B4-BE49-F238E27FC236}">
                  <a16:creationId xmlns:a16="http://schemas.microsoft.com/office/drawing/2014/main" id="{64D335D6-BC76-45F5-A648-A7EF00CCB1F2}"/>
                </a:ext>
              </a:extLst>
            </p:cNvPr>
            <p:cNvSpPr/>
            <p:nvPr/>
          </p:nvSpPr>
          <p:spPr>
            <a:xfrm>
              <a:off x="11695151" y="8264886"/>
              <a:ext cx="568960" cy="95885"/>
            </a:xfrm>
            <a:custGeom>
              <a:avLst/>
              <a:gdLst/>
              <a:ahLst/>
              <a:cxnLst/>
              <a:rect l="l" t="t" r="r" b="b"/>
              <a:pathLst>
                <a:path w="568959" h="95884">
                  <a:moveTo>
                    <a:pt x="126212" y="0"/>
                  </a:moveTo>
                  <a:lnTo>
                    <a:pt x="0" y="0"/>
                  </a:lnTo>
                  <a:lnTo>
                    <a:pt x="0" y="95300"/>
                  </a:lnTo>
                  <a:lnTo>
                    <a:pt x="126212" y="95300"/>
                  </a:lnTo>
                  <a:lnTo>
                    <a:pt x="126212" y="0"/>
                  </a:lnTo>
                  <a:close/>
                </a:path>
                <a:path w="568959" h="95884">
                  <a:moveTo>
                    <a:pt x="568553" y="0"/>
                  </a:moveTo>
                  <a:lnTo>
                    <a:pt x="226466" y="0"/>
                  </a:lnTo>
                  <a:lnTo>
                    <a:pt x="226466" y="95300"/>
                  </a:lnTo>
                  <a:lnTo>
                    <a:pt x="568553" y="95300"/>
                  </a:lnTo>
                  <a:lnTo>
                    <a:pt x="568553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object 70">
              <a:extLst>
                <a:ext uri="{FF2B5EF4-FFF2-40B4-BE49-F238E27FC236}">
                  <a16:creationId xmlns:a16="http://schemas.microsoft.com/office/drawing/2014/main" id="{8AFE5E9F-0788-4956-B4CC-6E2DE9B7E833}"/>
                </a:ext>
              </a:extLst>
            </p:cNvPr>
            <p:cNvSpPr/>
            <p:nvPr/>
          </p:nvSpPr>
          <p:spPr>
            <a:xfrm>
              <a:off x="12137776" y="8074267"/>
              <a:ext cx="334010" cy="95885"/>
            </a:xfrm>
            <a:custGeom>
              <a:avLst/>
              <a:gdLst/>
              <a:ahLst/>
              <a:cxnLst/>
              <a:rect l="l" t="t" r="r" b="b"/>
              <a:pathLst>
                <a:path w="334009" h="95884">
                  <a:moveTo>
                    <a:pt x="333550" y="0"/>
                  </a:moveTo>
                  <a:lnTo>
                    <a:pt x="0" y="0"/>
                  </a:lnTo>
                  <a:lnTo>
                    <a:pt x="0" y="95295"/>
                  </a:lnTo>
                  <a:lnTo>
                    <a:pt x="333550" y="95295"/>
                  </a:lnTo>
                  <a:lnTo>
                    <a:pt x="3335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object 71">
              <a:extLst>
                <a:ext uri="{FF2B5EF4-FFF2-40B4-BE49-F238E27FC236}">
                  <a16:creationId xmlns:a16="http://schemas.microsoft.com/office/drawing/2014/main" id="{D3BB6809-DC9F-4BDB-8AC8-9AB2437BB5BD}"/>
                </a:ext>
              </a:extLst>
            </p:cNvPr>
            <p:cNvSpPr/>
            <p:nvPr/>
          </p:nvSpPr>
          <p:spPr>
            <a:xfrm>
              <a:off x="11584153" y="7693056"/>
              <a:ext cx="960119" cy="476884"/>
            </a:xfrm>
            <a:custGeom>
              <a:avLst/>
              <a:gdLst/>
              <a:ahLst/>
              <a:cxnLst/>
              <a:rect l="l" t="t" r="r" b="b"/>
              <a:pathLst>
                <a:path w="960120" h="476884">
                  <a:moveTo>
                    <a:pt x="258152" y="190614"/>
                  </a:moveTo>
                  <a:lnTo>
                    <a:pt x="0" y="190614"/>
                  </a:lnTo>
                  <a:lnTo>
                    <a:pt x="0" y="285915"/>
                  </a:lnTo>
                  <a:lnTo>
                    <a:pt x="258152" y="285915"/>
                  </a:lnTo>
                  <a:lnTo>
                    <a:pt x="258152" y="190614"/>
                  </a:lnTo>
                  <a:close/>
                </a:path>
                <a:path w="960120" h="476884">
                  <a:moveTo>
                    <a:pt x="479920" y="381215"/>
                  </a:moveTo>
                  <a:lnTo>
                    <a:pt x="146342" y="381215"/>
                  </a:lnTo>
                  <a:lnTo>
                    <a:pt x="146342" y="476516"/>
                  </a:lnTo>
                  <a:lnTo>
                    <a:pt x="479920" y="476516"/>
                  </a:lnTo>
                  <a:lnTo>
                    <a:pt x="479920" y="381215"/>
                  </a:lnTo>
                  <a:close/>
                </a:path>
                <a:path w="960120" h="476884">
                  <a:moveTo>
                    <a:pt x="636993" y="190614"/>
                  </a:moveTo>
                  <a:lnTo>
                    <a:pt x="408698" y="190614"/>
                  </a:lnTo>
                  <a:lnTo>
                    <a:pt x="408698" y="285915"/>
                  </a:lnTo>
                  <a:lnTo>
                    <a:pt x="636993" y="285915"/>
                  </a:lnTo>
                  <a:lnTo>
                    <a:pt x="636993" y="190614"/>
                  </a:lnTo>
                  <a:close/>
                </a:path>
                <a:path w="960120" h="476884">
                  <a:moveTo>
                    <a:pt x="829246" y="190614"/>
                  </a:moveTo>
                  <a:lnTo>
                    <a:pt x="715073" y="190614"/>
                  </a:lnTo>
                  <a:lnTo>
                    <a:pt x="715073" y="285915"/>
                  </a:lnTo>
                  <a:lnTo>
                    <a:pt x="829246" y="285915"/>
                  </a:lnTo>
                  <a:lnTo>
                    <a:pt x="829246" y="190614"/>
                  </a:lnTo>
                  <a:close/>
                </a:path>
                <a:path w="960120" h="476884">
                  <a:moveTo>
                    <a:pt x="959840" y="0"/>
                  </a:moveTo>
                  <a:lnTo>
                    <a:pt x="553618" y="0"/>
                  </a:lnTo>
                  <a:lnTo>
                    <a:pt x="553618" y="95300"/>
                  </a:lnTo>
                  <a:lnTo>
                    <a:pt x="959840" y="95300"/>
                  </a:lnTo>
                  <a:lnTo>
                    <a:pt x="959840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object 72">
              <a:extLst>
                <a:ext uri="{FF2B5EF4-FFF2-40B4-BE49-F238E27FC236}">
                  <a16:creationId xmlns:a16="http://schemas.microsoft.com/office/drawing/2014/main" id="{79F3EF79-4D38-4683-A934-DC5E30B3098A}"/>
                </a:ext>
              </a:extLst>
            </p:cNvPr>
            <p:cNvSpPr/>
            <p:nvPr/>
          </p:nvSpPr>
          <p:spPr>
            <a:xfrm>
              <a:off x="11673194" y="7693053"/>
              <a:ext cx="334010" cy="95885"/>
            </a:xfrm>
            <a:custGeom>
              <a:avLst/>
              <a:gdLst/>
              <a:ahLst/>
              <a:cxnLst/>
              <a:rect l="l" t="t" r="r" b="b"/>
              <a:pathLst>
                <a:path w="334009" h="95884">
                  <a:moveTo>
                    <a:pt x="333539" y="0"/>
                  </a:moveTo>
                  <a:lnTo>
                    <a:pt x="0" y="0"/>
                  </a:lnTo>
                  <a:lnTo>
                    <a:pt x="0" y="95295"/>
                  </a:lnTo>
                  <a:lnTo>
                    <a:pt x="333539" y="95295"/>
                  </a:lnTo>
                  <a:lnTo>
                    <a:pt x="33353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object 73">
              <a:extLst>
                <a:ext uri="{FF2B5EF4-FFF2-40B4-BE49-F238E27FC236}">
                  <a16:creationId xmlns:a16="http://schemas.microsoft.com/office/drawing/2014/main" id="{EC72C568-AAB1-43D9-8CD8-DCB2CE0D01A2}"/>
                </a:ext>
              </a:extLst>
            </p:cNvPr>
            <p:cNvSpPr/>
            <p:nvPr/>
          </p:nvSpPr>
          <p:spPr>
            <a:xfrm>
              <a:off x="11582108" y="7121238"/>
              <a:ext cx="889635" cy="476884"/>
            </a:xfrm>
            <a:custGeom>
              <a:avLst/>
              <a:gdLst/>
              <a:ahLst/>
              <a:cxnLst/>
              <a:rect l="l" t="t" r="r" b="b"/>
              <a:pathLst>
                <a:path w="889634" h="476884">
                  <a:moveTo>
                    <a:pt x="239242" y="0"/>
                  </a:moveTo>
                  <a:lnTo>
                    <a:pt x="0" y="0"/>
                  </a:lnTo>
                  <a:lnTo>
                    <a:pt x="0" y="95300"/>
                  </a:lnTo>
                  <a:lnTo>
                    <a:pt x="239242" y="95300"/>
                  </a:lnTo>
                  <a:lnTo>
                    <a:pt x="239242" y="0"/>
                  </a:lnTo>
                  <a:close/>
                </a:path>
                <a:path w="889634" h="476884">
                  <a:moveTo>
                    <a:pt x="481965" y="381203"/>
                  </a:moveTo>
                  <a:lnTo>
                    <a:pt x="339521" y="381203"/>
                  </a:lnTo>
                  <a:lnTo>
                    <a:pt x="339521" y="476516"/>
                  </a:lnTo>
                  <a:lnTo>
                    <a:pt x="481965" y="476516"/>
                  </a:lnTo>
                  <a:lnTo>
                    <a:pt x="481965" y="381203"/>
                  </a:lnTo>
                  <a:close/>
                </a:path>
                <a:path w="889634" h="476884">
                  <a:moveTo>
                    <a:pt x="481965" y="190588"/>
                  </a:moveTo>
                  <a:lnTo>
                    <a:pt x="148386" y="190588"/>
                  </a:lnTo>
                  <a:lnTo>
                    <a:pt x="148386" y="285889"/>
                  </a:lnTo>
                  <a:lnTo>
                    <a:pt x="481965" y="285889"/>
                  </a:lnTo>
                  <a:lnTo>
                    <a:pt x="481965" y="190588"/>
                  </a:lnTo>
                  <a:close/>
                </a:path>
                <a:path w="889634" h="476884">
                  <a:moveTo>
                    <a:pt x="649973" y="0"/>
                  </a:moveTo>
                  <a:lnTo>
                    <a:pt x="410743" y="0"/>
                  </a:lnTo>
                  <a:lnTo>
                    <a:pt x="410743" y="95300"/>
                  </a:lnTo>
                  <a:lnTo>
                    <a:pt x="649973" y="95300"/>
                  </a:lnTo>
                  <a:lnTo>
                    <a:pt x="649973" y="0"/>
                  </a:lnTo>
                  <a:close/>
                </a:path>
                <a:path w="889634" h="476884">
                  <a:moveTo>
                    <a:pt x="722426" y="381203"/>
                  </a:moveTo>
                  <a:lnTo>
                    <a:pt x="555663" y="381203"/>
                  </a:lnTo>
                  <a:lnTo>
                    <a:pt x="555663" y="476516"/>
                  </a:lnTo>
                  <a:lnTo>
                    <a:pt x="722426" y="476516"/>
                  </a:lnTo>
                  <a:lnTo>
                    <a:pt x="722426" y="381203"/>
                  </a:lnTo>
                  <a:close/>
                </a:path>
                <a:path w="889634" h="476884">
                  <a:moveTo>
                    <a:pt x="889215" y="190588"/>
                  </a:moveTo>
                  <a:lnTo>
                    <a:pt x="722426" y="190588"/>
                  </a:lnTo>
                  <a:lnTo>
                    <a:pt x="722426" y="285889"/>
                  </a:lnTo>
                  <a:lnTo>
                    <a:pt x="889215" y="285889"/>
                  </a:lnTo>
                  <a:lnTo>
                    <a:pt x="889215" y="190588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object 74">
              <a:extLst>
                <a:ext uri="{FF2B5EF4-FFF2-40B4-BE49-F238E27FC236}">
                  <a16:creationId xmlns:a16="http://schemas.microsoft.com/office/drawing/2014/main" id="{91CAE4F6-BFBB-4D43-9479-485AE5734E03}"/>
                </a:ext>
              </a:extLst>
            </p:cNvPr>
            <p:cNvSpPr/>
            <p:nvPr/>
          </p:nvSpPr>
          <p:spPr>
            <a:xfrm>
              <a:off x="12137776" y="6930616"/>
              <a:ext cx="334010" cy="95885"/>
            </a:xfrm>
            <a:custGeom>
              <a:avLst/>
              <a:gdLst/>
              <a:ahLst/>
              <a:cxnLst/>
              <a:rect l="l" t="t" r="r" b="b"/>
              <a:pathLst>
                <a:path w="334009" h="95884">
                  <a:moveTo>
                    <a:pt x="333550" y="0"/>
                  </a:moveTo>
                  <a:lnTo>
                    <a:pt x="0" y="0"/>
                  </a:lnTo>
                  <a:lnTo>
                    <a:pt x="0" y="95295"/>
                  </a:lnTo>
                  <a:lnTo>
                    <a:pt x="333550" y="95295"/>
                  </a:lnTo>
                  <a:lnTo>
                    <a:pt x="33355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object 75">
              <a:extLst>
                <a:ext uri="{FF2B5EF4-FFF2-40B4-BE49-F238E27FC236}">
                  <a16:creationId xmlns:a16="http://schemas.microsoft.com/office/drawing/2014/main" id="{29CBC963-16D5-4542-8AD5-6F526ABFC372}"/>
                </a:ext>
              </a:extLst>
            </p:cNvPr>
            <p:cNvSpPr/>
            <p:nvPr/>
          </p:nvSpPr>
          <p:spPr>
            <a:xfrm>
              <a:off x="11730495" y="6549396"/>
              <a:ext cx="741045" cy="476884"/>
            </a:xfrm>
            <a:custGeom>
              <a:avLst/>
              <a:gdLst/>
              <a:ahLst/>
              <a:cxnLst/>
              <a:rect l="l" t="t" r="r" b="b"/>
              <a:pathLst>
                <a:path w="741045" h="476884">
                  <a:moveTo>
                    <a:pt x="333578" y="381228"/>
                  </a:moveTo>
                  <a:lnTo>
                    <a:pt x="0" y="381228"/>
                  </a:lnTo>
                  <a:lnTo>
                    <a:pt x="0" y="476516"/>
                  </a:lnTo>
                  <a:lnTo>
                    <a:pt x="333578" y="476516"/>
                  </a:lnTo>
                  <a:lnTo>
                    <a:pt x="333578" y="381228"/>
                  </a:lnTo>
                  <a:close/>
                </a:path>
                <a:path w="741045" h="476884">
                  <a:moveTo>
                    <a:pt x="528955" y="190614"/>
                  </a:moveTo>
                  <a:lnTo>
                    <a:pt x="195414" y="190614"/>
                  </a:lnTo>
                  <a:lnTo>
                    <a:pt x="195414" y="285927"/>
                  </a:lnTo>
                  <a:lnTo>
                    <a:pt x="528955" y="285927"/>
                  </a:lnTo>
                  <a:lnTo>
                    <a:pt x="528955" y="190614"/>
                  </a:lnTo>
                  <a:close/>
                </a:path>
                <a:path w="741045" h="476884">
                  <a:moveTo>
                    <a:pt x="740829" y="0"/>
                  </a:moveTo>
                  <a:lnTo>
                    <a:pt x="407276" y="0"/>
                  </a:lnTo>
                  <a:lnTo>
                    <a:pt x="407276" y="95313"/>
                  </a:lnTo>
                  <a:lnTo>
                    <a:pt x="740829" y="95313"/>
                  </a:lnTo>
                  <a:lnTo>
                    <a:pt x="740829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object 76">
              <a:extLst>
                <a:ext uri="{FF2B5EF4-FFF2-40B4-BE49-F238E27FC236}">
                  <a16:creationId xmlns:a16="http://schemas.microsoft.com/office/drawing/2014/main" id="{F5B27935-F631-4676-BBFB-CB80293ED032}"/>
                </a:ext>
              </a:extLst>
            </p:cNvPr>
            <p:cNvSpPr/>
            <p:nvPr/>
          </p:nvSpPr>
          <p:spPr>
            <a:xfrm>
              <a:off x="11584160" y="6549392"/>
              <a:ext cx="340995" cy="95885"/>
            </a:xfrm>
            <a:custGeom>
              <a:avLst/>
              <a:gdLst/>
              <a:ahLst/>
              <a:cxnLst/>
              <a:rect l="l" t="t" r="r" b="b"/>
              <a:pathLst>
                <a:path w="340995" h="95884">
                  <a:moveTo>
                    <a:pt x="340890" y="0"/>
                  </a:moveTo>
                  <a:lnTo>
                    <a:pt x="0" y="0"/>
                  </a:lnTo>
                  <a:lnTo>
                    <a:pt x="0" y="95305"/>
                  </a:lnTo>
                  <a:lnTo>
                    <a:pt x="340890" y="95305"/>
                  </a:lnTo>
                  <a:lnTo>
                    <a:pt x="34089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object 77">
              <a:extLst>
                <a:ext uri="{FF2B5EF4-FFF2-40B4-BE49-F238E27FC236}">
                  <a16:creationId xmlns:a16="http://schemas.microsoft.com/office/drawing/2014/main" id="{5195CD8D-0389-4402-93B4-9307E43B11BE}"/>
                </a:ext>
              </a:extLst>
            </p:cNvPr>
            <p:cNvSpPr/>
            <p:nvPr/>
          </p:nvSpPr>
          <p:spPr>
            <a:xfrm>
              <a:off x="11582139" y="6358801"/>
              <a:ext cx="962025" cy="95885"/>
            </a:xfrm>
            <a:custGeom>
              <a:avLst/>
              <a:gdLst/>
              <a:ahLst/>
              <a:cxnLst/>
              <a:rect l="l" t="t" r="r" b="b"/>
              <a:pathLst>
                <a:path w="962025" h="95885">
                  <a:moveTo>
                    <a:pt x="961855" y="0"/>
                  </a:moveTo>
                  <a:lnTo>
                    <a:pt x="0" y="0"/>
                  </a:lnTo>
                  <a:lnTo>
                    <a:pt x="0" y="95295"/>
                  </a:lnTo>
                  <a:lnTo>
                    <a:pt x="961855" y="95295"/>
                  </a:lnTo>
                  <a:lnTo>
                    <a:pt x="961855" y="0"/>
                  </a:lnTo>
                  <a:close/>
                </a:path>
              </a:pathLst>
            </a:custGeom>
            <a:solidFill>
              <a:srgbClr val="E9F8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object 78">
              <a:extLst>
                <a:ext uri="{FF2B5EF4-FFF2-40B4-BE49-F238E27FC236}">
                  <a16:creationId xmlns:a16="http://schemas.microsoft.com/office/drawing/2014/main" id="{1DF54F07-2CC7-4F25-8587-33498EDA5403}"/>
                </a:ext>
              </a:extLst>
            </p:cNvPr>
            <p:cNvSpPr/>
            <p:nvPr/>
          </p:nvSpPr>
          <p:spPr>
            <a:xfrm>
              <a:off x="11584164" y="6245354"/>
              <a:ext cx="960119" cy="3136265"/>
            </a:xfrm>
            <a:custGeom>
              <a:avLst/>
              <a:gdLst/>
              <a:ahLst/>
              <a:cxnLst/>
              <a:rect l="l" t="t" r="r" b="b"/>
              <a:pathLst>
                <a:path w="960120" h="3136265">
                  <a:moveTo>
                    <a:pt x="959782" y="0"/>
                  </a:moveTo>
                  <a:lnTo>
                    <a:pt x="0" y="3135873"/>
                  </a:lnTo>
                  <a:lnTo>
                    <a:pt x="959782" y="3135904"/>
                  </a:lnTo>
                  <a:lnTo>
                    <a:pt x="959782" y="0"/>
                  </a:lnTo>
                  <a:close/>
                </a:path>
              </a:pathLst>
            </a:custGeom>
            <a:solidFill>
              <a:srgbClr val="01005B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object 79">
              <a:extLst>
                <a:ext uri="{FF2B5EF4-FFF2-40B4-BE49-F238E27FC236}">
                  <a16:creationId xmlns:a16="http://schemas.microsoft.com/office/drawing/2014/main" id="{2BD22F81-0CD7-43FE-B990-F996ED07B4C7}"/>
                </a:ext>
              </a:extLst>
            </p:cNvPr>
            <p:cNvSpPr/>
            <p:nvPr/>
          </p:nvSpPr>
          <p:spPr>
            <a:xfrm>
              <a:off x="69" y="8568014"/>
              <a:ext cx="20104100" cy="873760"/>
            </a:xfrm>
            <a:custGeom>
              <a:avLst/>
              <a:gdLst/>
              <a:ahLst/>
              <a:cxnLst/>
              <a:rect l="l" t="t" r="r" b="b"/>
              <a:pathLst>
                <a:path w="20104100" h="873759">
                  <a:moveTo>
                    <a:pt x="13617169" y="0"/>
                  </a:moveTo>
                  <a:lnTo>
                    <a:pt x="13577062" y="26"/>
                  </a:lnTo>
                  <a:lnTo>
                    <a:pt x="13506868" y="1971"/>
                  </a:lnTo>
                  <a:lnTo>
                    <a:pt x="13451276" y="6614"/>
                  </a:lnTo>
                  <a:lnTo>
                    <a:pt x="13422390" y="10221"/>
                  </a:lnTo>
                  <a:lnTo>
                    <a:pt x="13319849" y="22341"/>
                  </a:lnTo>
                  <a:lnTo>
                    <a:pt x="13239547" y="31267"/>
                  </a:lnTo>
                  <a:lnTo>
                    <a:pt x="13150896" y="40648"/>
                  </a:lnTo>
                  <a:lnTo>
                    <a:pt x="13054930" y="50293"/>
                  </a:lnTo>
                  <a:lnTo>
                    <a:pt x="12952684" y="60012"/>
                  </a:lnTo>
                  <a:lnTo>
                    <a:pt x="12845190" y="69615"/>
                  </a:lnTo>
                  <a:lnTo>
                    <a:pt x="12733482" y="78912"/>
                  </a:lnTo>
                  <a:lnTo>
                    <a:pt x="12618594" y="87711"/>
                  </a:lnTo>
                  <a:lnTo>
                    <a:pt x="12560281" y="91864"/>
                  </a:lnTo>
                  <a:lnTo>
                    <a:pt x="12501560" y="95822"/>
                  </a:lnTo>
                  <a:lnTo>
                    <a:pt x="12442561" y="99561"/>
                  </a:lnTo>
                  <a:lnTo>
                    <a:pt x="12383412" y="103056"/>
                  </a:lnTo>
                  <a:lnTo>
                    <a:pt x="12324244" y="106284"/>
                  </a:lnTo>
                  <a:lnTo>
                    <a:pt x="12265185" y="109221"/>
                  </a:lnTo>
                  <a:lnTo>
                    <a:pt x="12206365" y="111844"/>
                  </a:lnTo>
                  <a:lnTo>
                    <a:pt x="12147913" y="114128"/>
                  </a:lnTo>
                  <a:lnTo>
                    <a:pt x="12089957" y="116050"/>
                  </a:lnTo>
                  <a:lnTo>
                    <a:pt x="12032628" y="117586"/>
                  </a:lnTo>
                  <a:lnTo>
                    <a:pt x="11976053" y="118712"/>
                  </a:lnTo>
                  <a:lnTo>
                    <a:pt x="11920364" y="119404"/>
                  </a:lnTo>
                  <a:lnTo>
                    <a:pt x="11865688" y="119639"/>
                  </a:lnTo>
                  <a:lnTo>
                    <a:pt x="11812155" y="119392"/>
                  </a:lnTo>
                  <a:lnTo>
                    <a:pt x="11759894" y="118641"/>
                  </a:lnTo>
                  <a:lnTo>
                    <a:pt x="11709035" y="117360"/>
                  </a:lnTo>
                  <a:lnTo>
                    <a:pt x="11659706" y="115527"/>
                  </a:lnTo>
                  <a:lnTo>
                    <a:pt x="11612037" y="113118"/>
                  </a:lnTo>
                  <a:lnTo>
                    <a:pt x="11566156" y="110108"/>
                  </a:lnTo>
                  <a:lnTo>
                    <a:pt x="11522194" y="106475"/>
                  </a:lnTo>
                  <a:lnTo>
                    <a:pt x="11480279" y="102193"/>
                  </a:lnTo>
                  <a:lnTo>
                    <a:pt x="11394835" y="91405"/>
                  </a:lnTo>
                  <a:lnTo>
                    <a:pt x="11348599" y="86319"/>
                  </a:lnTo>
                  <a:lnTo>
                    <a:pt x="11301854" y="81938"/>
                  </a:lnTo>
                  <a:lnTo>
                    <a:pt x="11254621" y="78219"/>
                  </a:lnTo>
                  <a:lnTo>
                    <a:pt x="11206922" y="75121"/>
                  </a:lnTo>
                  <a:lnTo>
                    <a:pt x="11158776" y="72600"/>
                  </a:lnTo>
                  <a:lnTo>
                    <a:pt x="11110205" y="70613"/>
                  </a:lnTo>
                  <a:lnTo>
                    <a:pt x="11061230" y="69118"/>
                  </a:lnTo>
                  <a:lnTo>
                    <a:pt x="11011872" y="68073"/>
                  </a:lnTo>
                  <a:lnTo>
                    <a:pt x="10962151" y="67434"/>
                  </a:lnTo>
                  <a:lnTo>
                    <a:pt x="10912088" y="67159"/>
                  </a:lnTo>
                  <a:lnTo>
                    <a:pt x="10861704" y="67206"/>
                  </a:lnTo>
                  <a:lnTo>
                    <a:pt x="10811021" y="67531"/>
                  </a:lnTo>
                  <a:lnTo>
                    <a:pt x="10708838" y="68846"/>
                  </a:lnTo>
                  <a:lnTo>
                    <a:pt x="10344822" y="75956"/>
                  </a:lnTo>
                  <a:lnTo>
                    <a:pt x="10239685" y="77295"/>
                  </a:lnTo>
                  <a:lnTo>
                    <a:pt x="10187032" y="77636"/>
                  </a:lnTo>
                  <a:lnTo>
                    <a:pt x="10134351" y="77701"/>
                  </a:lnTo>
                  <a:lnTo>
                    <a:pt x="10081662" y="77448"/>
                  </a:lnTo>
                  <a:lnTo>
                    <a:pt x="10028987" y="76833"/>
                  </a:lnTo>
                  <a:lnTo>
                    <a:pt x="9976345" y="75814"/>
                  </a:lnTo>
                  <a:lnTo>
                    <a:pt x="9923759" y="74349"/>
                  </a:lnTo>
                  <a:lnTo>
                    <a:pt x="9871249" y="72394"/>
                  </a:lnTo>
                  <a:lnTo>
                    <a:pt x="9818836" y="69907"/>
                  </a:lnTo>
                  <a:lnTo>
                    <a:pt x="9766541" y="66846"/>
                  </a:lnTo>
                  <a:lnTo>
                    <a:pt x="9667727" y="60040"/>
                  </a:lnTo>
                  <a:lnTo>
                    <a:pt x="9618720" y="57651"/>
                  </a:lnTo>
                  <a:lnTo>
                    <a:pt x="9567535" y="55968"/>
                  </a:lnTo>
                  <a:lnTo>
                    <a:pt x="9514346" y="54956"/>
                  </a:lnTo>
                  <a:lnTo>
                    <a:pt x="9459325" y="54582"/>
                  </a:lnTo>
                  <a:lnTo>
                    <a:pt x="9402647" y="54812"/>
                  </a:lnTo>
                  <a:lnTo>
                    <a:pt x="9344484" y="55614"/>
                  </a:lnTo>
                  <a:lnTo>
                    <a:pt x="9285008" y="56953"/>
                  </a:lnTo>
                  <a:lnTo>
                    <a:pt x="9224394" y="58796"/>
                  </a:lnTo>
                  <a:lnTo>
                    <a:pt x="9162814" y="61110"/>
                  </a:lnTo>
                  <a:lnTo>
                    <a:pt x="9100442" y="63861"/>
                  </a:lnTo>
                  <a:lnTo>
                    <a:pt x="9037449" y="67016"/>
                  </a:lnTo>
                  <a:lnTo>
                    <a:pt x="8974011" y="70540"/>
                  </a:lnTo>
                  <a:lnTo>
                    <a:pt x="8910298" y="74401"/>
                  </a:lnTo>
                  <a:lnTo>
                    <a:pt x="8846486" y="78565"/>
                  </a:lnTo>
                  <a:lnTo>
                    <a:pt x="8782746" y="82999"/>
                  </a:lnTo>
                  <a:lnTo>
                    <a:pt x="8719251" y="87669"/>
                  </a:lnTo>
                  <a:lnTo>
                    <a:pt x="8656176" y="92541"/>
                  </a:lnTo>
                  <a:lnTo>
                    <a:pt x="8531974" y="102759"/>
                  </a:lnTo>
                  <a:lnTo>
                    <a:pt x="8411525" y="113386"/>
                  </a:lnTo>
                  <a:lnTo>
                    <a:pt x="8296212" y="124152"/>
                  </a:lnTo>
                  <a:lnTo>
                    <a:pt x="8187421" y="134791"/>
                  </a:lnTo>
                  <a:lnTo>
                    <a:pt x="8039490" y="149923"/>
                  </a:lnTo>
                  <a:lnTo>
                    <a:pt x="7767515" y="179041"/>
                  </a:lnTo>
                  <a:lnTo>
                    <a:pt x="7629650" y="192723"/>
                  </a:lnTo>
                  <a:lnTo>
                    <a:pt x="7489053" y="209857"/>
                  </a:lnTo>
                  <a:lnTo>
                    <a:pt x="7218099" y="246015"/>
                  </a:lnTo>
                  <a:lnTo>
                    <a:pt x="6721816" y="313495"/>
                  </a:lnTo>
                  <a:lnTo>
                    <a:pt x="6392165" y="331324"/>
                  </a:lnTo>
                  <a:lnTo>
                    <a:pt x="5651051" y="365030"/>
                  </a:lnTo>
                  <a:lnTo>
                    <a:pt x="4870230" y="384942"/>
                  </a:lnTo>
                  <a:lnTo>
                    <a:pt x="4421456" y="361389"/>
                  </a:lnTo>
                  <a:lnTo>
                    <a:pt x="4289339" y="319081"/>
                  </a:lnTo>
                  <a:lnTo>
                    <a:pt x="4157136" y="298768"/>
                  </a:lnTo>
                  <a:lnTo>
                    <a:pt x="3945500" y="294860"/>
                  </a:lnTo>
                  <a:lnTo>
                    <a:pt x="3575084" y="301768"/>
                  </a:lnTo>
                  <a:lnTo>
                    <a:pt x="2855651" y="405157"/>
                  </a:lnTo>
                  <a:lnTo>
                    <a:pt x="1388575" y="673610"/>
                  </a:lnTo>
                  <a:lnTo>
                    <a:pt x="0" y="873583"/>
                  </a:lnTo>
                  <a:lnTo>
                    <a:pt x="20104026" y="873583"/>
                  </a:lnTo>
                  <a:lnTo>
                    <a:pt x="19504400" y="742204"/>
                  </a:lnTo>
                  <a:lnTo>
                    <a:pt x="19172016" y="653432"/>
                  </a:lnTo>
                  <a:lnTo>
                    <a:pt x="18412202" y="451732"/>
                  </a:lnTo>
                  <a:lnTo>
                    <a:pt x="17580970" y="234026"/>
                  </a:lnTo>
                  <a:lnTo>
                    <a:pt x="17034329" y="97240"/>
                  </a:lnTo>
                  <a:lnTo>
                    <a:pt x="16989064" y="88782"/>
                  </a:lnTo>
                  <a:lnTo>
                    <a:pt x="16941350" y="82993"/>
                  </a:lnTo>
                  <a:lnTo>
                    <a:pt x="16891465" y="79668"/>
                  </a:lnTo>
                  <a:lnTo>
                    <a:pt x="16839687" y="78601"/>
                  </a:lnTo>
                  <a:lnTo>
                    <a:pt x="16786293" y="79586"/>
                  </a:lnTo>
                  <a:lnTo>
                    <a:pt x="16731561" y="82418"/>
                  </a:lnTo>
                  <a:lnTo>
                    <a:pt x="16675770" y="86890"/>
                  </a:lnTo>
                  <a:lnTo>
                    <a:pt x="16619197" y="92798"/>
                  </a:lnTo>
                  <a:lnTo>
                    <a:pt x="16562120" y="99936"/>
                  </a:lnTo>
                  <a:lnTo>
                    <a:pt x="16504817" y="108098"/>
                  </a:lnTo>
                  <a:lnTo>
                    <a:pt x="16447566" y="117078"/>
                  </a:lnTo>
                  <a:lnTo>
                    <a:pt x="16390644" y="126671"/>
                  </a:lnTo>
                  <a:lnTo>
                    <a:pt x="16334331" y="136670"/>
                  </a:lnTo>
                  <a:lnTo>
                    <a:pt x="16278903" y="146872"/>
                  </a:lnTo>
                  <a:lnTo>
                    <a:pt x="16120710" y="176627"/>
                  </a:lnTo>
                  <a:lnTo>
                    <a:pt x="16071603" y="185577"/>
                  </a:lnTo>
                  <a:lnTo>
                    <a:pt x="16024771" y="193701"/>
                  </a:lnTo>
                  <a:lnTo>
                    <a:pt x="15980492" y="200792"/>
                  </a:lnTo>
                  <a:lnTo>
                    <a:pt x="15939044" y="206644"/>
                  </a:lnTo>
                  <a:lnTo>
                    <a:pt x="15900704" y="211053"/>
                  </a:lnTo>
                  <a:lnTo>
                    <a:pt x="15834462" y="214717"/>
                  </a:lnTo>
                  <a:lnTo>
                    <a:pt x="15807116" y="213560"/>
                  </a:lnTo>
                  <a:lnTo>
                    <a:pt x="15783990" y="210137"/>
                  </a:lnTo>
                  <a:lnTo>
                    <a:pt x="15769944" y="207289"/>
                  </a:lnTo>
                  <a:lnTo>
                    <a:pt x="15751534" y="203986"/>
                  </a:lnTo>
                  <a:lnTo>
                    <a:pt x="15702373" y="196117"/>
                  </a:lnTo>
                  <a:lnTo>
                    <a:pt x="15637996" y="186742"/>
                  </a:lnTo>
                  <a:lnTo>
                    <a:pt x="15559896" y="176071"/>
                  </a:lnTo>
                  <a:lnTo>
                    <a:pt x="15469562" y="164313"/>
                  </a:lnTo>
                  <a:lnTo>
                    <a:pt x="15368486" y="151679"/>
                  </a:lnTo>
                  <a:lnTo>
                    <a:pt x="15258159" y="138379"/>
                  </a:lnTo>
                  <a:lnTo>
                    <a:pt x="15140071" y="124624"/>
                  </a:lnTo>
                  <a:lnTo>
                    <a:pt x="15015713" y="110624"/>
                  </a:lnTo>
                  <a:lnTo>
                    <a:pt x="14886576" y="96589"/>
                  </a:lnTo>
                  <a:lnTo>
                    <a:pt x="14754152" y="82729"/>
                  </a:lnTo>
                  <a:lnTo>
                    <a:pt x="14619931" y="69254"/>
                  </a:lnTo>
                  <a:lnTo>
                    <a:pt x="14485403" y="56376"/>
                  </a:lnTo>
                  <a:lnTo>
                    <a:pt x="14352060" y="44303"/>
                  </a:lnTo>
                  <a:lnTo>
                    <a:pt x="14221392" y="33247"/>
                  </a:lnTo>
                  <a:lnTo>
                    <a:pt x="14157528" y="28165"/>
                  </a:lnTo>
                  <a:lnTo>
                    <a:pt x="14094891" y="23417"/>
                  </a:lnTo>
                  <a:lnTo>
                    <a:pt x="14033669" y="19028"/>
                  </a:lnTo>
                  <a:lnTo>
                    <a:pt x="13974047" y="15024"/>
                  </a:lnTo>
                  <a:lnTo>
                    <a:pt x="13916213" y="11432"/>
                  </a:lnTo>
                  <a:lnTo>
                    <a:pt x="13860352" y="8278"/>
                  </a:lnTo>
                  <a:lnTo>
                    <a:pt x="13806650" y="5589"/>
                  </a:lnTo>
                  <a:lnTo>
                    <a:pt x="13755295" y="3390"/>
                  </a:lnTo>
                  <a:lnTo>
                    <a:pt x="13706472" y="1708"/>
                  </a:lnTo>
                  <a:lnTo>
                    <a:pt x="13660368" y="569"/>
                  </a:lnTo>
                  <a:lnTo>
                    <a:pt x="13617169" y="0"/>
                  </a:lnTo>
                  <a:close/>
                </a:path>
              </a:pathLst>
            </a:custGeom>
            <a:solidFill>
              <a:srgbClr val="85D77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object 80">
              <a:extLst>
                <a:ext uri="{FF2B5EF4-FFF2-40B4-BE49-F238E27FC236}">
                  <a16:creationId xmlns:a16="http://schemas.microsoft.com/office/drawing/2014/main" id="{6A540E4A-1949-414B-B1C4-5D4D56DBA669}"/>
                </a:ext>
              </a:extLst>
            </p:cNvPr>
            <p:cNvSpPr/>
            <p:nvPr/>
          </p:nvSpPr>
          <p:spPr>
            <a:xfrm>
              <a:off x="310922" y="9172118"/>
              <a:ext cx="19793585" cy="269875"/>
            </a:xfrm>
            <a:custGeom>
              <a:avLst/>
              <a:gdLst/>
              <a:ahLst/>
              <a:cxnLst/>
              <a:rect l="l" t="t" r="r" b="b"/>
              <a:pathLst>
                <a:path w="19793585" h="269875">
                  <a:moveTo>
                    <a:pt x="6381979" y="0"/>
                  </a:moveTo>
                  <a:lnTo>
                    <a:pt x="6291331" y="585"/>
                  </a:lnTo>
                  <a:lnTo>
                    <a:pt x="6189613" y="1866"/>
                  </a:lnTo>
                  <a:lnTo>
                    <a:pt x="6078394" y="3773"/>
                  </a:lnTo>
                  <a:lnTo>
                    <a:pt x="5897181" y="7655"/>
                  </a:lnTo>
                  <a:lnTo>
                    <a:pt x="5636942" y="14376"/>
                  </a:lnTo>
                  <a:lnTo>
                    <a:pt x="5299354" y="24478"/>
                  </a:lnTo>
                  <a:lnTo>
                    <a:pt x="4908564" y="37668"/>
                  </a:lnTo>
                  <a:lnTo>
                    <a:pt x="4573371" y="50256"/>
                  </a:lnTo>
                  <a:lnTo>
                    <a:pt x="4367054" y="58935"/>
                  </a:lnTo>
                  <a:lnTo>
                    <a:pt x="4286098" y="62868"/>
                  </a:lnTo>
                  <a:lnTo>
                    <a:pt x="4253242" y="64815"/>
                  </a:lnTo>
                  <a:lnTo>
                    <a:pt x="4228384" y="65927"/>
                  </a:lnTo>
                  <a:lnTo>
                    <a:pt x="4164467" y="65788"/>
                  </a:lnTo>
                  <a:lnTo>
                    <a:pt x="4126104" y="64699"/>
                  </a:lnTo>
                  <a:lnTo>
                    <a:pt x="4083936" y="63037"/>
                  </a:lnTo>
                  <a:lnTo>
                    <a:pt x="4038309" y="60884"/>
                  </a:lnTo>
                  <a:lnTo>
                    <a:pt x="3938073" y="55425"/>
                  </a:lnTo>
                  <a:lnTo>
                    <a:pt x="3711410" y="42156"/>
                  </a:lnTo>
                  <a:lnTo>
                    <a:pt x="3590549" y="35636"/>
                  </a:lnTo>
                  <a:lnTo>
                    <a:pt x="3529453" y="32687"/>
                  </a:lnTo>
                  <a:lnTo>
                    <a:pt x="3468378" y="30052"/>
                  </a:lnTo>
                  <a:lnTo>
                    <a:pt x="3407670" y="27813"/>
                  </a:lnTo>
                  <a:lnTo>
                    <a:pt x="3347680" y="26051"/>
                  </a:lnTo>
                  <a:lnTo>
                    <a:pt x="3288753" y="24845"/>
                  </a:lnTo>
                  <a:lnTo>
                    <a:pt x="3231238" y="24276"/>
                  </a:lnTo>
                  <a:lnTo>
                    <a:pt x="3175482" y="24425"/>
                  </a:lnTo>
                  <a:lnTo>
                    <a:pt x="3121835" y="25374"/>
                  </a:lnTo>
                  <a:lnTo>
                    <a:pt x="3070642" y="27201"/>
                  </a:lnTo>
                  <a:lnTo>
                    <a:pt x="3022253" y="29989"/>
                  </a:lnTo>
                  <a:lnTo>
                    <a:pt x="2484062" y="72185"/>
                  </a:lnTo>
                  <a:lnTo>
                    <a:pt x="1665680" y="139343"/>
                  </a:lnTo>
                  <a:lnTo>
                    <a:pt x="917614" y="201562"/>
                  </a:lnTo>
                  <a:lnTo>
                    <a:pt x="590369" y="228946"/>
                  </a:lnTo>
                  <a:lnTo>
                    <a:pt x="0" y="269468"/>
                  </a:lnTo>
                  <a:lnTo>
                    <a:pt x="19793177" y="269468"/>
                  </a:lnTo>
                  <a:lnTo>
                    <a:pt x="18419795" y="105704"/>
                  </a:lnTo>
                  <a:lnTo>
                    <a:pt x="16981671" y="124970"/>
                  </a:lnTo>
                  <a:lnTo>
                    <a:pt x="16273368" y="93086"/>
                  </a:lnTo>
                  <a:lnTo>
                    <a:pt x="15908669" y="90953"/>
                  </a:lnTo>
                  <a:lnTo>
                    <a:pt x="15700303" y="92157"/>
                  </a:lnTo>
                  <a:lnTo>
                    <a:pt x="15570148" y="98422"/>
                  </a:lnTo>
                  <a:lnTo>
                    <a:pt x="15440084" y="111473"/>
                  </a:lnTo>
                  <a:lnTo>
                    <a:pt x="14998256" y="118735"/>
                  </a:lnTo>
                  <a:lnTo>
                    <a:pt x="14229507" y="112589"/>
                  </a:lnTo>
                  <a:lnTo>
                    <a:pt x="13499850" y="102189"/>
                  </a:lnTo>
                  <a:lnTo>
                    <a:pt x="13175295" y="96688"/>
                  </a:lnTo>
                  <a:lnTo>
                    <a:pt x="12686659" y="75877"/>
                  </a:lnTo>
                  <a:lnTo>
                    <a:pt x="12419882" y="64726"/>
                  </a:lnTo>
                  <a:lnTo>
                    <a:pt x="12281455" y="59441"/>
                  </a:lnTo>
                  <a:lnTo>
                    <a:pt x="11659783" y="39330"/>
                  </a:lnTo>
                  <a:lnTo>
                    <a:pt x="11362808" y="30883"/>
                  </a:lnTo>
                  <a:lnTo>
                    <a:pt x="11172552" y="26188"/>
                  </a:lnTo>
                  <a:lnTo>
                    <a:pt x="10979322" y="22143"/>
                  </a:lnTo>
                  <a:lnTo>
                    <a:pt x="10851306" y="19956"/>
                  </a:lnTo>
                  <a:lnTo>
                    <a:pt x="10725653" y="18281"/>
                  </a:lnTo>
                  <a:lnTo>
                    <a:pt x="10603835" y="17207"/>
                  </a:lnTo>
                  <a:lnTo>
                    <a:pt x="10487326" y="16824"/>
                  </a:lnTo>
                  <a:lnTo>
                    <a:pt x="10431523" y="16920"/>
                  </a:lnTo>
                  <a:lnTo>
                    <a:pt x="10377601" y="17222"/>
                  </a:lnTo>
                  <a:lnTo>
                    <a:pt x="10325742" y="17741"/>
                  </a:lnTo>
                  <a:lnTo>
                    <a:pt x="10276132" y="18488"/>
                  </a:lnTo>
                  <a:lnTo>
                    <a:pt x="10176048" y="20642"/>
                  </a:lnTo>
                  <a:lnTo>
                    <a:pt x="10069822" y="22383"/>
                  </a:lnTo>
                  <a:lnTo>
                    <a:pt x="9963199" y="23433"/>
                  </a:lnTo>
                  <a:lnTo>
                    <a:pt x="9856358" y="23906"/>
                  </a:lnTo>
                  <a:lnTo>
                    <a:pt x="9696081" y="23787"/>
                  </a:lnTo>
                  <a:lnTo>
                    <a:pt x="9169008" y="20882"/>
                  </a:lnTo>
                  <a:lnTo>
                    <a:pt x="9015380" y="20755"/>
                  </a:lnTo>
                  <a:lnTo>
                    <a:pt x="8914676" y="21221"/>
                  </a:lnTo>
                  <a:lnTo>
                    <a:pt x="8815554" y="22263"/>
                  </a:lnTo>
                  <a:lnTo>
                    <a:pt x="8718194" y="23994"/>
                  </a:lnTo>
                  <a:lnTo>
                    <a:pt x="8670230" y="25155"/>
                  </a:lnTo>
                  <a:lnTo>
                    <a:pt x="8622775" y="26531"/>
                  </a:lnTo>
                  <a:lnTo>
                    <a:pt x="8575850" y="28138"/>
                  </a:lnTo>
                  <a:lnTo>
                    <a:pt x="8489323" y="31552"/>
                  </a:lnTo>
                  <a:lnTo>
                    <a:pt x="8446917" y="32899"/>
                  </a:lnTo>
                  <a:lnTo>
                    <a:pt x="8402398" y="34035"/>
                  </a:lnTo>
                  <a:lnTo>
                    <a:pt x="8355903" y="34970"/>
                  </a:lnTo>
                  <a:lnTo>
                    <a:pt x="8257532" y="36265"/>
                  </a:lnTo>
                  <a:lnTo>
                    <a:pt x="8152904" y="36847"/>
                  </a:lnTo>
                  <a:lnTo>
                    <a:pt x="8043115" y="36781"/>
                  </a:lnTo>
                  <a:lnTo>
                    <a:pt x="7929264" y="36129"/>
                  </a:lnTo>
                  <a:lnTo>
                    <a:pt x="7812449" y="34955"/>
                  </a:lnTo>
                  <a:lnTo>
                    <a:pt x="7634069" y="32352"/>
                  </a:lnTo>
                  <a:lnTo>
                    <a:pt x="7455196" y="28931"/>
                  </a:lnTo>
                  <a:lnTo>
                    <a:pt x="7222335" y="23464"/>
                  </a:lnTo>
                  <a:lnTo>
                    <a:pt x="6952667" y="15890"/>
                  </a:lnTo>
                  <a:lnTo>
                    <a:pt x="6645837" y="5676"/>
                  </a:lnTo>
                  <a:lnTo>
                    <a:pt x="6549884" y="2031"/>
                  </a:lnTo>
                  <a:lnTo>
                    <a:pt x="6523797" y="1191"/>
                  </a:lnTo>
                  <a:lnTo>
                    <a:pt x="6493768" y="576"/>
                  </a:lnTo>
                  <a:lnTo>
                    <a:pt x="6459991" y="178"/>
                  </a:lnTo>
                  <a:lnTo>
                    <a:pt x="6381979" y="0"/>
                  </a:lnTo>
                  <a:close/>
                </a:path>
              </a:pathLst>
            </a:custGeom>
            <a:solidFill>
              <a:srgbClr val="46AE54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object 81">
              <a:extLst>
                <a:ext uri="{FF2B5EF4-FFF2-40B4-BE49-F238E27FC236}">
                  <a16:creationId xmlns:a16="http://schemas.microsoft.com/office/drawing/2014/main" id="{9D6F765C-E7E7-4023-97B5-F250AC3D17D3}"/>
                </a:ext>
              </a:extLst>
            </p:cNvPr>
            <p:cNvSpPr/>
            <p:nvPr/>
          </p:nvSpPr>
          <p:spPr>
            <a:xfrm>
              <a:off x="3022" y="9452540"/>
              <a:ext cx="20099655" cy="1235075"/>
            </a:xfrm>
            <a:custGeom>
              <a:avLst/>
              <a:gdLst/>
              <a:ahLst/>
              <a:cxnLst/>
              <a:rect l="l" t="t" r="r" b="b"/>
              <a:pathLst>
                <a:path w="20099655" h="1235075">
                  <a:moveTo>
                    <a:pt x="20099465" y="0"/>
                  </a:moveTo>
                  <a:lnTo>
                    <a:pt x="0" y="0"/>
                  </a:lnTo>
                  <a:lnTo>
                    <a:pt x="130568" y="40449"/>
                  </a:lnTo>
                  <a:lnTo>
                    <a:pt x="12" y="40449"/>
                  </a:lnTo>
                  <a:lnTo>
                    <a:pt x="177939" y="55130"/>
                  </a:lnTo>
                  <a:lnTo>
                    <a:pt x="599490" y="185712"/>
                  </a:lnTo>
                  <a:lnTo>
                    <a:pt x="833564" y="276275"/>
                  </a:lnTo>
                  <a:lnTo>
                    <a:pt x="1377073" y="484568"/>
                  </a:lnTo>
                  <a:lnTo>
                    <a:pt x="1991982" y="715492"/>
                  </a:lnTo>
                  <a:lnTo>
                    <a:pt x="2440267" y="873937"/>
                  </a:lnTo>
                  <a:lnTo>
                    <a:pt x="2485301" y="885736"/>
                  </a:lnTo>
                  <a:lnTo>
                    <a:pt x="2532367" y="893470"/>
                  </a:lnTo>
                  <a:lnTo>
                    <a:pt x="2581224" y="897445"/>
                  </a:lnTo>
                  <a:lnTo>
                    <a:pt x="2631630" y="897978"/>
                  </a:lnTo>
                  <a:lnTo>
                    <a:pt x="2683332" y="895388"/>
                  </a:lnTo>
                  <a:lnTo>
                    <a:pt x="2736100" y="889990"/>
                  </a:lnTo>
                  <a:lnTo>
                    <a:pt x="2789682" y="882103"/>
                  </a:lnTo>
                  <a:lnTo>
                    <a:pt x="2843847" y="872032"/>
                  </a:lnTo>
                  <a:lnTo>
                    <a:pt x="2898330" y="860107"/>
                  </a:lnTo>
                  <a:lnTo>
                    <a:pt x="2952915" y="846632"/>
                  </a:lnTo>
                  <a:lnTo>
                    <a:pt x="3007334" y="831926"/>
                  </a:lnTo>
                  <a:lnTo>
                    <a:pt x="3061360" y="816305"/>
                  </a:lnTo>
                  <a:lnTo>
                    <a:pt x="3114738" y="800074"/>
                  </a:lnTo>
                  <a:lnTo>
                    <a:pt x="3167227" y="783564"/>
                  </a:lnTo>
                  <a:lnTo>
                    <a:pt x="3316973" y="735495"/>
                  </a:lnTo>
                  <a:lnTo>
                    <a:pt x="3363493" y="721004"/>
                  </a:lnTo>
                  <a:lnTo>
                    <a:pt x="3407918" y="707809"/>
                  </a:lnTo>
                  <a:lnTo>
                    <a:pt x="3449993" y="696214"/>
                  </a:lnTo>
                  <a:lnTo>
                    <a:pt x="3489477" y="686549"/>
                  </a:lnTo>
                  <a:lnTo>
                    <a:pt x="3559721" y="674243"/>
                  </a:lnTo>
                  <a:lnTo>
                    <a:pt x="3589985" y="672249"/>
                  </a:lnTo>
                  <a:lnTo>
                    <a:pt x="3616693" y="673430"/>
                  </a:lnTo>
                  <a:lnTo>
                    <a:pt x="3639591" y="678103"/>
                  </a:lnTo>
                  <a:lnTo>
                    <a:pt x="3650323" y="681291"/>
                  </a:lnTo>
                  <a:lnTo>
                    <a:pt x="3664597" y="685253"/>
                  </a:lnTo>
                  <a:lnTo>
                    <a:pt x="3703409" y="695375"/>
                  </a:lnTo>
                  <a:lnTo>
                    <a:pt x="3755098" y="708253"/>
                  </a:lnTo>
                  <a:lnTo>
                    <a:pt x="3854729" y="732205"/>
                  </a:lnTo>
                  <a:lnTo>
                    <a:pt x="3978122" y="761009"/>
                  </a:lnTo>
                  <a:lnTo>
                    <a:pt x="4122153" y="793864"/>
                  </a:lnTo>
                  <a:lnTo>
                    <a:pt x="4283672" y="829983"/>
                  </a:lnTo>
                  <a:lnTo>
                    <a:pt x="4459579" y="868527"/>
                  </a:lnTo>
                  <a:lnTo>
                    <a:pt x="4646727" y="908735"/>
                  </a:lnTo>
                  <a:lnTo>
                    <a:pt x="4841989" y="949794"/>
                  </a:lnTo>
                  <a:lnTo>
                    <a:pt x="4975136" y="977239"/>
                  </a:lnTo>
                  <a:lnTo>
                    <a:pt x="5109578" y="1004468"/>
                  </a:lnTo>
                  <a:lnTo>
                    <a:pt x="5244376" y="1031240"/>
                  </a:lnTo>
                  <a:lnTo>
                    <a:pt x="5378628" y="1057325"/>
                  </a:lnTo>
                  <a:lnTo>
                    <a:pt x="5511381" y="1082471"/>
                  </a:lnTo>
                  <a:lnTo>
                    <a:pt x="5641733" y="1106462"/>
                  </a:lnTo>
                  <a:lnTo>
                    <a:pt x="5768733" y="1129055"/>
                  </a:lnTo>
                  <a:lnTo>
                    <a:pt x="5830697" y="1139748"/>
                  </a:lnTo>
                  <a:lnTo>
                    <a:pt x="5891466" y="1149997"/>
                  </a:lnTo>
                  <a:lnTo>
                    <a:pt x="5950953" y="1159776"/>
                  </a:lnTo>
                  <a:lnTo>
                    <a:pt x="6009017" y="1169060"/>
                  </a:lnTo>
                  <a:lnTo>
                    <a:pt x="6065545" y="1177823"/>
                  </a:lnTo>
                  <a:lnTo>
                    <a:pt x="6120435" y="1186014"/>
                  </a:lnTo>
                  <a:lnTo>
                    <a:pt x="6173571" y="1193622"/>
                  </a:lnTo>
                  <a:lnTo>
                    <a:pt x="6224816" y="1200619"/>
                  </a:lnTo>
                  <a:lnTo>
                    <a:pt x="6274079" y="1206957"/>
                  </a:lnTo>
                  <a:lnTo>
                    <a:pt x="6321222" y="1212634"/>
                  </a:lnTo>
                  <a:lnTo>
                    <a:pt x="6366154" y="1217587"/>
                  </a:lnTo>
                  <a:lnTo>
                    <a:pt x="6408737" y="1221816"/>
                  </a:lnTo>
                  <a:lnTo>
                    <a:pt x="6448857" y="1225270"/>
                  </a:lnTo>
                  <a:lnTo>
                    <a:pt x="6521285" y="1229766"/>
                  </a:lnTo>
                  <a:lnTo>
                    <a:pt x="6582486" y="1230845"/>
                  </a:lnTo>
                  <a:lnTo>
                    <a:pt x="6608585" y="1230033"/>
                  </a:lnTo>
                  <a:lnTo>
                    <a:pt x="6651231" y="1225537"/>
                  </a:lnTo>
                  <a:lnTo>
                    <a:pt x="6719710" y="1208189"/>
                  </a:lnTo>
                  <a:lnTo>
                    <a:pt x="6791744" y="1181061"/>
                  </a:lnTo>
                  <a:lnTo>
                    <a:pt x="6829031" y="1164336"/>
                  </a:lnTo>
                  <a:lnTo>
                    <a:pt x="6867093" y="1145755"/>
                  </a:lnTo>
                  <a:lnTo>
                    <a:pt x="6905930" y="1125550"/>
                  </a:lnTo>
                  <a:lnTo>
                    <a:pt x="6945477" y="1103884"/>
                  </a:lnTo>
                  <a:lnTo>
                    <a:pt x="6985736" y="1080985"/>
                  </a:lnTo>
                  <a:lnTo>
                    <a:pt x="7026643" y="1057046"/>
                  </a:lnTo>
                  <a:lnTo>
                    <a:pt x="7068172" y="1032256"/>
                  </a:lnTo>
                  <a:lnTo>
                    <a:pt x="7196188" y="954824"/>
                  </a:lnTo>
                  <a:lnTo>
                    <a:pt x="7239889" y="928662"/>
                  </a:lnTo>
                  <a:lnTo>
                    <a:pt x="7284059" y="902652"/>
                  </a:lnTo>
                  <a:lnTo>
                    <a:pt x="7328636" y="876998"/>
                  </a:lnTo>
                  <a:lnTo>
                    <a:pt x="7373620" y="851903"/>
                  </a:lnTo>
                  <a:lnTo>
                    <a:pt x="7418959" y="827570"/>
                  </a:lnTo>
                  <a:lnTo>
                    <a:pt x="7464615" y="804176"/>
                  </a:lnTo>
                  <a:lnTo>
                    <a:pt x="7510577" y="781951"/>
                  </a:lnTo>
                  <a:lnTo>
                    <a:pt x="7556792" y="761085"/>
                  </a:lnTo>
                  <a:lnTo>
                    <a:pt x="7603223" y="741756"/>
                  </a:lnTo>
                  <a:lnTo>
                    <a:pt x="7649858" y="724204"/>
                  </a:lnTo>
                  <a:lnTo>
                    <a:pt x="7696644" y="708596"/>
                  </a:lnTo>
                  <a:lnTo>
                    <a:pt x="7743545" y="695134"/>
                  </a:lnTo>
                  <a:lnTo>
                    <a:pt x="7790561" y="684047"/>
                  </a:lnTo>
                  <a:lnTo>
                    <a:pt x="7837614" y="675500"/>
                  </a:lnTo>
                  <a:lnTo>
                    <a:pt x="7884706" y="669709"/>
                  </a:lnTo>
                  <a:lnTo>
                    <a:pt x="7931785" y="666877"/>
                  </a:lnTo>
                  <a:lnTo>
                    <a:pt x="7978813" y="667207"/>
                  </a:lnTo>
                  <a:lnTo>
                    <a:pt x="8025778" y="670877"/>
                  </a:lnTo>
                  <a:lnTo>
                    <a:pt x="8072628" y="678103"/>
                  </a:lnTo>
                  <a:lnTo>
                    <a:pt x="8105203" y="684199"/>
                  </a:lnTo>
                  <a:lnTo>
                    <a:pt x="8139836" y="690257"/>
                  </a:lnTo>
                  <a:lnTo>
                    <a:pt x="8214944" y="702271"/>
                  </a:lnTo>
                  <a:lnTo>
                    <a:pt x="8255254" y="708228"/>
                  </a:lnTo>
                  <a:lnTo>
                    <a:pt x="8297278" y="714146"/>
                  </a:lnTo>
                  <a:lnTo>
                    <a:pt x="8340953" y="720039"/>
                  </a:lnTo>
                  <a:lnTo>
                    <a:pt x="8386178" y="725893"/>
                  </a:lnTo>
                  <a:lnTo>
                    <a:pt x="8480958" y="737489"/>
                  </a:lnTo>
                  <a:lnTo>
                    <a:pt x="8580971" y="748944"/>
                  </a:lnTo>
                  <a:lnTo>
                    <a:pt x="8685543" y="760247"/>
                  </a:lnTo>
                  <a:lnTo>
                    <a:pt x="8793988" y="771398"/>
                  </a:lnTo>
                  <a:lnTo>
                    <a:pt x="8905659" y="782383"/>
                  </a:lnTo>
                  <a:lnTo>
                    <a:pt x="9077731" y="798563"/>
                  </a:lnTo>
                  <a:lnTo>
                    <a:pt x="9312186" y="819531"/>
                  </a:lnTo>
                  <a:lnTo>
                    <a:pt x="10155187" y="891501"/>
                  </a:lnTo>
                  <a:lnTo>
                    <a:pt x="10345979" y="908761"/>
                  </a:lnTo>
                  <a:lnTo>
                    <a:pt x="10473245" y="921131"/>
                  </a:lnTo>
                  <a:lnTo>
                    <a:pt x="10599572" y="934326"/>
                  </a:lnTo>
                  <a:lnTo>
                    <a:pt x="10651884" y="939279"/>
                  </a:lnTo>
                  <a:lnTo>
                    <a:pt x="10706049" y="943965"/>
                  </a:lnTo>
                  <a:lnTo>
                    <a:pt x="10761878" y="948397"/>
                  </a:lnTo>
                  <a:lnTo>
                    <a:pt x="10819219" y="952550"/>
                  </a:lnTo>
                  <a:lnTo>
                    <a:pt x="10877868" y="956462"/>
                  </a:lnTo>
                  <a:lnTo>
                    <a:pt x="10937659" y="960120"/>
                  </a:lnTo>
                  <a:lnTo>
                    <a:pt x="10998416" y="963523"/>
                  </a:lnTo>
                  <a:lnTo>
                    <a:pt x="11059960" y="966698"/>
                  </a:lnTo>
                  <a:lnTo>
                    <a:pt x="11122101" y="969619"/>
                  </a:lnTo>
                  <a:lnTo>
                    <a:pt x="11184674" y="972312"/>
                  </a:lnTo>
                  <a:lnTo>
                    <a:pt x="11247488" y="974788"/>
                  </a:lnTo>
                  <a:lnTo>
                    <a:pt x="11310391" y="977023"/>
                  </a:lnTo>
                  <a:lnTo>
                    <a:pt x="11373168" y="979055"/>
                  </a:lnTo>
                  <a:lnTo>
                    <a:pt x="11497704" y="982459"/>
                  </a:lnTo>
                  <a:lnTo>
                    <a:pt x="11619662" y="985037"/>
                  </a:lnTo>
                  <a:lnTo>
                    <a:pt x="11737632" y="986828"/>
                  </a:lnTo>
                  <a:lnTo>
                    <a:pt x="11850180" y="987882"/>
                  </a:lnTo>
                  <a:lnTo>
                    <a:pt x="11955869" y="988212"/>
                  </a:lnTo>
                  <a:lnTo>
                    <a:pt x="12053291" y="987856"/>
                  </a:lnTo>
                  <a:lnTo>
                    <a:pt x="12141010" y="986866"/>
                  </a:lnTo>
                  <a:lnTo>
                    <a:pt x="12217591" y="985266"/>
                  </a:lnTo>
                  <a:lnTo>
                    <a:pt x="12281624" y="983094"/>
                  </a:lnTo>
                  <a:lnTo>
                    <a:pt x="12331675" y="980389"/>
                  </a:lnTo>
                  <a:lnTo>
                    <a:pt x="12366320" y="977188"/>
                  </a:lnTo>
                  <a:lnTo>
                    <a:pt x="12486615" y="969378"/>
                  </a:lnTo>
                  <a:lnTo>
                    <a:pt x="12732969" y="993622"/>
                  </a:lnTo>
                  <a:lnTo>
                    <a:pt x="13290995" y="1074102"/>
                  </a:lnTo>
                  <a:lnTo>
                    <a:pt x="14346327" y="1234998"/>
                  </a:lnTo>
                  <a:lnTo>
                    <a:pt x="14533055" y="1172565"/>
                  </a:lnTo>
                  <a:lnTo>
                    <a:pt x="14959749" y="1043025"/>
                  </a:lnTo>
                  <a:lnTo>
                    <a:pt x="15426119" y="933005"/>
                  </a:lnTo>
                  <a:lnTo>
                    <a:pt x="15731947" y="929093"/>
                  </a:lnTo>
                  <a:lnTo>
                    <a:pt x="15860116" y="982840"/>
                  </a:lnTo>
                  <a:lnTo>
                    <a:pt x="15964992" y="969238"/>
                  </a:lnTo>
                  <a:lnTo>
                    <a:pt x="16102470" y="859980"/>
                  </a:lnTo>
                  <a:lnTo>
                    <a:pt x="16328505" y="626681"/>
                  </a:lnTo>
                  <a:lnTo>
                    <a:pt x="17244441" y="662139"/>
                  </a:lnTo>
                  <a:lnTo>
                    <a:pt x="18711215" y="282663"/>
                  </a:lnTo>
                  <a:lnTo>
                    <a:pt x="19581635" y="105448"/>
                  </a:lnTo>
                  <a:lnTo>
                    <a:pt x="20099465" y="40449"/>
                  </a:lnTo>
                  <a:lnTo>
                    <a:pt x="19900799" y="40449"/>
                  </a:lnTo>
                  <a:lnTo>
                    <a:pt x="20099465" y="0"/>
                  </a:lnTo>
                  <a:close/>
                </a:path>
              </a:pathLst>
            </a:custGeom>
            <a:solidFill>
              <a:srgbClr val="03283D">
                <a:alpha val="5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object 82">
              <a:extLst>
                <a:ext uri="{FF2B5EF4-FFF2-40B4-BE49-F238E27FC236}">
                  <a16:creationId xmlns:a16="http://schemas.microsoft.com/office/drawing/2014/main" id="{16D0BB30-9E6D-4C3E-A0E9-16D19DD0C09C}"/>
                </a:ext>
              </a:extLst>
            </p:cNvPr>
            <p:cNvSpPr/>
            <p:nvPr/>
          </p:nvSpPr>
          <p:spPr>
            <a:xfrm>
              <a:off x="0" y="9440906"/>
              <a:ext cx="20104100" cy="76835"/>
            </a:xfrm>
            <a:custGeom>
              <a:avLst/>
              <a:gdLst/>
              <a:ahLst/>
              <a:cxnLst/>
              <a:rect l="l" t="t" r="r" b="b"/>
              <a:pathLst>
                <a:path w="20104100" h="76834">
                  <a:moveTo>
                    <a:pt x="20104099" y="0"/>
                  </a:moveTo>
                  <a:lnTo>
                    <a:pt x="0" y="0"/>
                  </a:lnTo>
                  <a:lnTo>
                    <a:pt x="0" y="76510"/>
                  </a:lnTo>
                  <a:lnTo>
                    <a:pt x="20104099" y="76510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object 83">
              <a:extLst>
                <a:ext uri="{FF2B5EF4-FFF2-40B4-BE49-F238E27FC236}">
                  <a16:creationId xmlns:a16="http://schemas.microsoft.com/office/drawing/2014/main" id="{6AFEA348-483E-4B62-AB4D-CEF734231609}"/>
                </a:ext>
              </a:extLst>
            </p:cNvPr>
            <p:cNvSpPr/>
            <p:nvPr/>
          </p:nvSpPr>
          <p:spPr>
            <a:xfrm>
              <a:off x="2482513" y="8224442"/>
              <a:ext cx="971550" cy="915035"/>
            </a:xfrm>
            <a:custGeom>
              <a:avLst/>
              <a:gdLst/>
              <a:ahLst/>
              <a:cxnLst/>
              <a:rect l="l" t="t" r="r" b="b"/>
              <a:pathLst>
                <a:path w="971550" h="915034">
                  <a:moveTo>
                    <a:pt x="383882" y="0"/>
                  </a:moveTo>
                  <a:lnTo>
                    <a:pt x="339594" y="3312"/>
                  </a:lnTo>
                  <a:lnTo>
                    <a:pt x="298101" y="15225"/>
                  </a:lnTo>
                  <a:lnTo>
                    <a:pt x="260308" y="34861"/>
                  </a:lnTo>
                  <a:lnTo>
                    <a:pt x="227121" y="61342"/>
                  </a:lnTo>
                  <a:lnTo>
                    <a:pt x="199444" y="93791"/>
                  </a:lnTo>
                  <a:lnTo>
                    <a:pt x="178182" y="131330"/>
                  </a:lnTo>
                  <a:lnTo>
                    <a:pt x="164242" y="173083"/>
                  </a:lnTo>
                  <a:lnTo>
                    <a:pt x="158527" y="218171"/>
                  </a:lnTo>
                  <a:lnTo>
                    <a:pt x="160530" y="255474"/>
                  </a:lnTo>
                  <a:lnTo>
                    <a:pt x="168316" y="290937"/>
                  </a:lnTo>
                  <a:lnTo>
                    <a:pt x="181370" y="324081"/>
                  </a:lnTo>
                  <a:lnTo>
                    <a:pt x="199175" y="354428"/>
                  </a:lnTo>
                  <a:lnTo>
                    <a:pt x="198819" y="355172"/>
                  </a:lnTo>
                  <a:lnTo>
                    <a:pt x="155706" y="365957"/>
                  </a:lnTo>
                  <a:lnTo>
                    <a:pt x="116329" y="384988"/>
                  </a:lnTo>
                  <a:lnTo>
                    <a:pt x="81669" y="411327"/>
                  </a:lnTo>
                  <a:lnTo>
                    <a:pt x="52706" y="444038"/>
                  </a:lnTo>
                  <a:lnTo>
                    <a:pt x="30419" y="482183"/>
                  </a:lnTo>
                  <a:lnTo>
                    <a:pt x="15791" y="524826"/>
                  </a:lnTo>
                  <a:lnTo>
                    <a:pt x="9799" y="571029"/>
                  </a:lnTo>
                  <a:lnTo>
                    <a:pt x="9809" y="583593"/>
                  </a:lnTo>
                  <a:lnTo>
                    <a:pt x="10519" y="595991"/>
                  </a:lnTo>
                  <a:lnTo>
                    <a:pt x="11884" y="608213"/>
                  </a:lnTo>
                  <a:lnTo>
                    <a:pt x="13862" y="620253"/>
                  </a:lnTo>
                  <a:lnTo>
                    <a:pt x="2159" y="647666"/>
                  </a:lnTo>
                  <a:lnTo>
                    <a:pt x="7470" y="706223"/>
                  </a:lnTo>
                  <a:lnTo>
                    <a:pt x="37276" y="743641"/>
                  </a:lnTo>
                  <a:lnTo>
                    <a:pt x="81860" y="761421"/>
                  </a:lnTo>
                  <a:lnTo>
                    <a:pt x="95242" y="810583"/>
                  </a:lnTo>
                  <a:lnTo>
                    <a:pt x="121398" y="852797"/>
                  </a:lnTo>
                  <a:lnTo>
                    <a:pt x="158075" y="885778"/>
                  </a:lnTo>
                  <a:lnTo>
                    <a:pt x="203024" y="907241"/>
                  </a:lnTo>
                  <a:lnTo>
                    <a:pt x="253990" y="914904"/>
                  </a:lnTo>
                  <a:lnTo>
                    <a:pt x="299648" y="908786"/>
                  </a:lnTo>
                  <a:lnTo>
                    <a:pt x="340720" y="891514"/>
                  </a:lnTo>
                  <a:lnTo>
                    <a:pt x="375621" y="864705"/>
                  </a:lnTo>
                  <a:lnTo>
                    <a:pt x="402763" y="829977"/>
                  </a:lnTo>
                  <a:lnTo>
                    <a:pt x="420561" y="788949"/>
                  </a:lnTo>
                  <a:lnTo>
                    <a:pt x="449261" y="795127"/>
                  </a:lnTo>
                  <a:lnTo>
                    <a:pt x="478868" y="795092"/>
                  </a:lnTo>
                  <a:lnTo>
                    <a:pt x="508326" y="788627"/>
                  </a:lnTo>
                  <a:lnTo>
                    <a:pt x="536579" y="775515"/>
                  </a:lnTo>
                  <a:lnTo>
                    <a:pt x="566710" y="799221"/>
                  </a:lnTo>
                  <a:lnTo>
                    <a:pt x="600705" y="817359"/>
                  </a:lnTo>
                  <a:lnTo>
                    <a:pt x="637955" y="829219"/>
                  </a:lnTo>
                  <a:lnTo>
                    <a:pt x="677852" y="834089"/>
                  </a:lnTo>
                  <a:lnTo>
                    <a:pt x="705588" y="833081"/>
                  </a:lnTo>
                  <a:lnTo>
                    <a:pt x="732390" y="828630"/>
                  </a:lnTo>
                  <a:lnTo>
                    <a:pt x="758037" y="820953"/>
                  </a:lnTo>
                  <a:lnTo>
                    <a:pt x="782309" y="810268"/>
                  </a:lnTo>
                  <a:lnTo>
                    <a:pt x="794425" y="822071"/>
                  </a:lnTo>
                  <a:lnTo>
                    <a:pt x="808827" y="831071"/>
                  </a:lnTo>
                  <a:lnTo>
                    <a:pt x="825091" y="836808"/>
                  </a:lnTo>
                  <a:lnTo>
                    <a:pt x="842789" y="838822"/>
                  </a:lnTo>
                  <a:lnTo>
                    <a:pt x="873461" y="832619"/>
                  </a:lnTo>
                  <a:lnTo>
                    <a:pt x="898510" y="815701"/>
                  </a:lnTo>
                  <a:lnTo>
                    <a:pt x="915400" y="790606"/>
                  </a:lnTo>
                  <a:lnTo>
                    <a:pt x="921593" y="759872"/>
                  </a:lnTo>
                  <a:lnTo>
                    <a:pt x="920123" y="744688"/>
                  </a:lnTo>
                  <a:lnTo>
                    <a:pt x="915905" y="730503"/>
                  </a:lnTo>
                  <a:lnTo>
                    <a:pt x="909224" y="717579"/>
                  </a:lnTo>
                  <a:lnTo>
                    <a:pt x="900369" y="706177"/>
                  </a:lnTo>
                  <a:lnTo>
                    <a:pt x="929547" y="678925"/>
                  </a:lnTo>
                  <a:lnTo>
                    <a:pt x="951904" y="645626"/>
                  </a:lnTo>
                  <a:lnTo>
                    <a:pt x="966215" y="607463"/>
                  </a:lnTo>
                  <a:lnTo>
                    <a:pt x="971257" y="565616"/>
                  </a:lnTo>
                  <a:lnTo>
                    <a:pt x="965292" y="520162"/>
                  </a:lnTo>
                  <a:lnTo>
                    <a:pt x="948451" y="479215"/>
                  </a:lnTo>
                  <a:lnTo>
                    <a:pt x="922312" y="444308"/>
                  </a:lnTo>
                  <a:lnTo>
                    <a:pt x="888453" y="416971"/>
                  </a:lnTo>
                  <a:lnTo>
                    <a:pt x="882272" y="367369"/>
                  </a:lnTo>
                  <a:lnTo>
                    <a:pt x="866085" y="321683"/>
                  </a:lnTo>
                  <a:lnTo>
                    <a:pt x="841058" y="281187"/>
                  </a:lnTo>
                  <a:lnTo>
                    <a:pt x="808356" y="247158"/>
                  </a:lnTo>
                  <a:lnTo>
                    <a:pt x="769146" y="220869"/>
                  </a:lnTo>
                  <a:lnTo>
                    <a:pt x="724593" y="203595"/>
                  </a:lnTo>
                  <a:lnTo>
                    <a:pt x="675862" y="196611"/>
                  </a:lnTo>
                  <a:lnTo>
                    <a:pt x="655128" y="197055"/>
                  </a:lnTo>
                  <a:lnTo>
                    <a:pt x="634907" y="199470"/>
                  </a:lnTo>
                  <a:lnTo>
                    <a:pt x="615269" y="203738"/>
                  </a:lnTo>
                  <a:lnTo>
                    <a:pt x="596284" y="209742"/>
                  </a:lnTo>
                  <a:lnTo>
                    <a:pt x="588295" y="162245"/>
                  </a:lnTo>
                  <a:lnTo>
                    <a:pt x="571074" y="118656"/>
                  </a:lnTo>
                  <a:lnTo>
                    <a:pt x="545688" y="80135"/>
                  </a:lnTo>
                  <a:lnTo>
                    <a:pt x="513207" y="47846"/>
                  </a:lnTo>
                  <a:lnTo>
                    <a:pt x="474699" y="22952"/>
                  </a:lnTo>
                  <a:lnTo>
                    <a:pt x="431235" y="6616"/>
                  </a:lnTo>
                  <a:lnTo>
                    <a:pt x="383882" y="0"/>
                  </a:lnTo>
                  <a:close/>
                </a:path>
              </a:pathLst>
            </a:custGeom>
            <a:solidFill>
              <a:srgbClr val="85B647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object 84">
              <a:extLst>
                <a:ext uri="{FF2B5EF4-FFF2-40B4-BE49-F238E27FC236}">
                  <a16:creationId xmlns:a16="http://schemas.microsoft.com/office/drawing/2014/main" id="{83663D62-42BF-4ADD-BC70-47CBF6605766}"/>
                </a:ext>
              </a:extLst>
            </p:cNvPr>
            <p:cNvSpPr/>
            <p:nvPr/>
          </p:nvSpPr>
          <p:spPr>
            <a:xfrm>
              <a:off x="2691884" y="8762841"/>
              <a:ext cx="560705" cy="681990"/>
            </a:xfrm>
            <a:custGeom>
              <a:avLst/>
              <a:gdLst/>
              <a:ahLst/>
              <a:cxnLst/>
              <a:rect l="l" t="t" r="r" b="b"/>
              <a:pathLst>
                <a:path w="560704" h="681990">
                  <a:moveTo>
                    <a:pt x="273708" y="0"/>
                  </a:moveTo>
                  <a:lnTo>
                    <a:pt x="262284" y="89243"/>
                  </a:lnTo>
                  <a:lnTo>
                    <a:pt x="255586" y="133327"/>
                  </a:lnTo>
                  <a:lnTo>
                    <a:pt x="251012" y="145151"/>
                  </a:lnTo>
                  <a:lnTo>
                    <a:pt x="245961" y="137618"/>
                  </a:lnTo>
                  <a:lnTo>
                    <a:pt x="228440" y="104544"/>
                  </a:lnTo>
                  <a:lnTo>
                    <a:pt x="212679" y="80778"/>
                  </a:lnTo>
                  <a:lnTo>
                    <a:pt x="196014" y="58554"/>
                  </a:lnTo>
                  <a:lnTo>
                    <a:pt x="175785" y="30103"/>
                  </a:lnTo>
                  <a:lnTo>
                    <a:pt x="185129" y="51452"/>
                  </a:lnTo>
                  <a:lnTo>
                    <a:pt x="209373" y="104613"/>
                  </a:lnTo>
                  <a:lnTo>
                    <a:pt x="234186" y="160489"/>
                  </a:lnTo>
                  <a:lnTo>
                    <a:pt x="245238" y="189983"/>
                  </a:lnTo>
                  <a:lnTo>
                    <a:pt x="239928" y="255815"/>
                  </a:lnTo>
                  <a:lnTo>
                    <a:pt x="233197" y="350774"/>
                  </a:lnTo>
                  <a:lnTo>
                    <a:pt x="214010" y="339128"/>
                  </a:lnTo>
                  <a:lnTo>
                    <a:pt x="192864" y="324840"/>
                  </a:lnTo>
                  <a:lnTo>
                    <a:pt x="172388" y="309842"/>
                  </a:lnTo>
                  <a:lnTo>
                    <a:pt x="155209" y="296064"/>
                  </a:lnTo>
                  <a:lnTo>
                    <a:pt x="156248" y="255534"/>
                  </a:lnTo>
                  <a:lnTo>
                    <a:pt x="145394" y="211034"/>
                  </a:lnTo>
                  <a:lnTo>
                    <a:pt x="132014" y="175123"/>
                  </a:lnTo>
                  <a:lnTo>
                    <a:pt x="125472" y="160361"/>
                  </a:lnTo>
                  <a:lnTo>
                    <a:pt x="128999" y="198550"/>
                  </a:lnTo>
                  <a:lnTo>
                    <a:pt x="134819" y="235759"/>
                  </a:lnTo>
                  <a:lnTo>
                    <a:pt x="138755" y="265009"/>
                  </a:lnTo>
                  <a:lnTo>
                    <a:pt x="136634" y="279321"/>
                  </a:lnTo>
                  <a:lnTo>
                    <a:pt x="110426" y="254695"/>
                  </a:lnTo>
                  <a:lnTo>
                    <a:pt x="69613" y="220332"/>
                  </a:lnTo>
                  <a:lnTo>
                    <a:pt x="28151" y="184710"/>
                  </a:lnTo>
                  <a:lnTo>
                    <a:pt x="0" y="156309"/>
                  </a:lnTo>
                  <a:lnTo>
                    <a:pt x="78431" y="258360"/>
                  </a:lnTo>
                  <a:lnTo>
                    <a:pt x="128502" y="317605"/>
                  </a:lnTo>
                  <a:lnTo>
                    <a:pt x="171747" y="356750"/>
                  </a:lnTo>
                  <a:lnTo>
                    <a:pt x="229699" y="398500"/>
                  </a:lnTo>
                  <a:lnTo>
                    <a:pt x="226787" y="446150"/>
                  </a:lnTo>
                  <a:lnTo>
                    <a:pt x="222811" y="540757"/>
                  </a:lnTo>
                  <a:lnTo>
                    <a:pt x="217005" y="595959"/>
                  </a:lnTo>
                  <a:lnTo>
                    <a:pt x="206746" y="654849"/>
                  </a:lnTo>
                  <a:lnTo>
                    <a:pt x="201061" y="681413"/>
                  </a:lnTo>
                  <a:lnTo>
                    <a:pt x="313822" y="681413"/>
                  </a:lnTo>
                  <a:lnTo>
                    <a:pt x="312078" y="669215"/>
                  </a:lnTo>
                  <a:lnTo>
                    <a:pt x="310061" y="657040"/>
                  </a:lnTo>
                  <a:lnTo>
                    <a:pt x="308330" y="644649"/>
                  </a:lnTo>
                  <a:lnTo>
                    <a:pt x="307446" y="631802"/>
                  </a:lnTo>
                  <a:lnTo>
                    <a:pt x="305808" y="536768"/>
                  </a:lnTo>
                  <a:lnTo>
                    <a:pt x="304181" y="483442"/>
                  </a:lnTo>
                  <a:lnTo>
                    <a:pt x="301666" y="449556"/>
                  </a:lnTo>
                  <a:lnTo>
                    <a:pt x="401321" y="382876"/>
                  </a:lnTo>
                  <a:lnTo>
                    <a:pt x="483586" y="304294"/>
                  </a:lnTo>
                  <a:lnTo>
                    <a:pt x="539509" y="238811"/>
                  </a:lnTo>
                  <a:lnTo>
                    <a:pt x="560140" y="211428"/>
                  </a:lnTo>
                  <a:lnTo>
                    <a:pt x="508284" y="258667"/>
                  </a:lnTo>
                  <a:lnTo>
                    <a:pt x="455580" y="300738"/>
                  </a:lnTo>
                  <a:lnTo>
                    <a:pt x="404906" y="336247"/>
                  </a:lnTo>
                  <a:lnTo>
                    <a:pt x="359145" y="363803"/>
                  </a:lnTo>
                  <a:lnTo>
                    <a:pt x="321178" y="382013"/>
                  </a:lnTo>
                  <a:lnTo>
                    <a:pt x="293886" y="389485"/>
                  </a:lnTo>
                  <a:lnTo>
                    <a:pt x="294261" y="373513"/>
                  </a:lnTo>
                  <a:lnTo>
                    <a:pt x="294284" y="357906"/>
                  </a:lnTo>
                  <a:lnTo>
                    <a:pt x="293827" y="341234"/>
                  </a:lnTo>
                  <a:lnTo>
                    <a:pt x="292765" y="322063"/>
                  </a:lnTo>
                  <a:lnTo>
                    <a:pt x="334391" y="282793"/>
                  </a:lnTo>
                  <a:lnTo>
                    <a:pt x="365275" y="217235"/>
                  </a:lnTo>
                  <a:lnTo>
                    <a:pt x="384487" y="155684"/>
                  </a:lnTo>
                  <a:lnTo>
                    <a:pt x="391098" y="128435"/>
                  </a:lnTo>
                  <a:lnTo>
                    <a:pt x="357806" y="194793"/>
                  </a:lnTo>
                  <a:lnTo>
                    <a:pt x="328846" y="243016"/>
                  </a:lnTo>
                  <a:lnTo>
                    <a:pt x="305041" y="273376"/>
                  </a:lnTo>
                  <a:lnTo>
                    <a:pt x="287216" y="286148"/>
                  </a:lnTo>
                  <a:lnTo>
                    <a:pt x="285500" y="265229"/>
                  </a:lnTo>
                  <a:lnTo>
                    <a:pt x="280236" y="177347"/>
                  </a:lnTo>
                  <a:lnTo>
                    <a:pt x="279223" y="163826"/>
                  </a:lnTo>
                  <a:lnTo>
                    <a:pt x="277936" y="151095"/>
                  </a:lnTo>
                  <a:lnTo>
                    <a:pt x="276274" y="139336"/>
                  </a:lnTo>
                  <a:lnTo>
                    <a:pt x="275676" y="109030"/>
                  </a:lnTo>
                  <a:lnTo>
                    <a:pt x="277449" y="64571"/>
                  </a:lnTo>
                  <a:lnTo>
                    <a:pt x="277994" y="22660"/>
                  </a:lnTo>
                  <a:lnTo>
                    <a:pt x="273708" y="0"/>
                  </a:lnTo>
                  <a:close/>
                </a:path>
              </a:pathLst>
            </a:custGeom>
            <a:solidFill>
              <a:srgbClr val="3C393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object 85">
              <a:extLst>
                <a:ext uri="{FF2B5EF4-FFF2-40B4-BE49-F238E27FC236}">
                  <a16:creationId xmlns:a16="http://schemas.microsoft.com/office/drawing/2014/main" id="{2514B67C-0761-47F4-99FB-D7C05ADAD2C3}"/>
                </a:ext>
              </a:extLst>
            </p:cNvPr>
            <p:cNvSpPr/>
            <p:nvPr/>
          </p:nvSpPr>
          <p:spPr>
            <a:xfrm>
              <a:off x="2492248" y="8224449"/>
              <a:ext cx="815975" cy="603885"/>
            </a:xfrm>
            <a:custGeom>
              <a:avLst/>
              <a:gdLst/>
              <a:ahLst/>
              <a:cxnLst/>
              <a:rect l="l" t="t" r="r" b="b"/>
              <a:pathLst>
                <a:path w="815975" h="603884">
                  <a:moveTo>
                    <a:pt x="547433" y="95618"/>
                  </a:moveTo>
                  <a:lnTo>
                    <a:pt x="514311" y="57277"/>
                  </a:lnTo>
                  <a:lnTo>
                    <a:pt x="473443" y="27508"/>
                  </a:lnTo>
                  <a:lnTo>
                    <a:pt x="426237" y="7886"/>
                  </a:lnTo>
                  <a:lnTo>
                    <a:pt x="374129" y="0"/>
                  </a:lnTo>
                  <a:lnTo>
                    <a:pt x="329844" y="3314"/>
                  </a:lnTo>
                  <a:lnTo>
                    <a:pt x="288353" y="15227"/>
                  </a:lnTo>
                  <a:lnTo>
                    <a:pt x="250558" y="34861"/>
                  </a:lnTo>
                  <a:lnTo>
                    <a:pt x="217373" y="61341"/>
                  </a:lnTo>
                  <a:lnTo>
                    <a:pt x="189699" y="93789"/>
                  </a:lnTo>
                  <a:lnTo>
                    <a:pt x="168440" y="131330"/>
                  </a:lnTo>
                  <a:lnTo>
                    <a:pt x="154508" y="173075"/>
                  </a:lnTo>
                  <a:lnTo>
                    <a:pt x="148793" y="218173"/>
                  </a:lnTo>
                  <a:lnTo>
                    <a:pt x="150799" y="255473"/>
                  </a:lnTo>
                  <a:lnTo>
                    <a:pt x="158584" y="290944"/>
                  </a:lnTo>
                  <a:lnTo>
                    <a:pt x="171640" y="324078"/>
                  </a:lnTo>
                  <a:lnTo>
                    <a:pt x="189445" y="354431"/>
                  </a:lnTo>
                  <a:lnTo>
                    <a:pt x="189077" y="355180"/>
                  </a:lnTo>
                  <a:lnTo>
                    <a:pt x="145961" y="365963"/>
                  </a:lnTo>
                  <a:lnTo>
                    <a:pt x="106591" y="384987"/>
                  </a:lnTo>
                  <a:lnTo>
                    <a:pt x="71932" y="411327"/>
                  </a:lnTo>
                  <a:lnTo>
                    <a:pt x="42964" y="444030"/>
                  </a:lnTo>
                  <a:lnTo>
                    <a:pt x="20675" y="482180"/>
                  </a:lnTo>
                  <a:lnTo>
                    <a:pt x="6045" y="524827"/>
                  </a:lnTo>
                  <a:lnTo>
                    <a:pt x="50" y="571030"/>
                  </a:lnTo>
                  <a:lnTo>
                    <a:pt x="0" y="579247"/>
                  </a:lnTo>
                  <a:lnTo>
                    <a:pt x="254" y="587387"/>
                  </a:lnTo>
                  <a:lnTo>
                    <a:pt x="787" y="595464"/>
                  </a:lnTo>
                  <a:lnTo>
                    <a:pt x="1587" y="603478"/>
                  </a:lnTo>
                  <a:lnTo>
                    <a:pt x="13919" y="579259"/>
                  </a:lnTo>
                  <a:lnTo>
                    <a:pt x="34239" y="546290"/>
                  </a:lnTo>
                  <a:lnTo>
                    <a:pt x="61988" y="509803"/>
                  </a:lnTo>
                  <a:lnTo>
                    <a:pt x="96634" y="475043"/>
                  </a:lnTo>
                  <a:lnTo>
                    <a:pt x="137629" y="447281"/>
                  </a:lnTo>
                  <a:lnTo>
                    <a:pt x="184442" y="431749"/>
                  </a:lnTo>
                  <a:lnTo>
                    <a:pt x="236512" y="433705"/>
                  </a:lnTo>
                  <a:lnTo>
                    <a:pt x="284581" y="443052"/>
                  </a:lnTo>
                  <a:lnTo>
                    <a:pt x="317817" y="444284"/>
                  </a:lnTo>
                  <a:lnTo>
                    <a:pt x="344398" y="436956"/>
                  </a:lnTo>
                  <a:lnTo>
                    <a:pt x="372465" y="420611"/>
                  </a:lnTo>
                  <a:lnTo>
                    <a:pt x="378040" y="413435"/>
                  </a:lnTo>
                  <a:lnTo>
                    <a:pt x="370497" y="406184"/>
                  </a:lnTo>
                  <a:lnTo>
                    <a:pt x="348030" y="397103"/>
                  </a:lnTo>
                  <a:lnTo>
                    <a:pt x="308825" y="384467"/>
                  </a:lnTo>
                  <a:lnTo>
                    <a:pt x="273862" y="368249"/>
                  </a:lnTo>
                  <a:lnTo>
                    <a:pt x="245237" y="344411"/>
                  </a:lnTo>
                  <a:lnTo>
                    <a:pt x="223367" y="314629"/>
                  </a:lnTo>
                  <a:lnTo>
                    <a:pt x="208648" y="280631"/>
                  </a:lnTo>
                  <a:lnTo>
                    <a:pt x="201510" y="244081"/>
                  </a:lnTo>
                  <a:lnTo>
                    <a:pt x="202349" y="206679"/>
                  </a:lnTo>
                  <a:lnTo>
                    <a:pt x="229616" y="136131"/>
                  </a:lnTo>
                  <a:lnTo>
                    <a:pt x="256870" y="106362"/>
                  </a:lnTo>
                  <a:lnTo>
                    <a:pt x="293738" y="82524"/>
                  </a:lnTo>
                  <a:lnTo>
                    <a:pt x="340639" y="66319"/>
                  </a:lnTo>
                  <a:lnTo>
                    <a:pt x="406387" y="56680"/>
                  </a:lnTo>
                  <a:lnTo>
                    <a:pt x="457441" y="60286"/>
                  </a:lnTo>
                  <a:lnTo>
                    <a:pt x="501802" y="74218"/>
                  </a:lnTo>
                  <a:lnTo>
                    <a:pt x="547433" y="95618"/>
                  </a:lnTo>
                  <a:close/>
                </a:path>
                <a:path w="815975" h="603884">
                  <a:moveTo>
                    <a:pt x="815365" y="262813"/>
                  </a:moveTo>
                  <a:lnTo>
                    <a:pt x="784199" y="236042"/>
                  </a:lnTo>
                  <a:lnTo>
                    <a:pt x="748411" y="215519"/>
                  </a:lnTo>
                  <a:lnTo>
                    <a:pt x="708787" y="202095"/>
                  </a:lnTo>
                  <a:lnTo>
                    <a:pt x="666127" y="196621"/>
                  </a:lnTo>
                  <a:lnTo>
                    <a:pt x="645388" y="197053"/>
                  </a:lnTo>
                  <a:lnTo>
                    <a:pt x="625170" y="199466"/>
                  </a:lnTo>
                  <a:lnTo>
                    <a:pt x="605523" y="203746"/>
                  </a:lnTo>
                  <a:lnTo>
                    <a:pt x="586536" y="209753"/>
                  </a:lnTo>
                  <a:lnTo>
                    <a:pt x="546011" y="215938"/>
                  </a:lnTo>
                  <a:lnTo>
                    <a:pt x="522859" y="222338"/>
                  </a:lnTo>
                  <a:lnTo>
                    <a:pt x="508393" y="232854"/>
                  </a:lnTo>
                  <a:lnTo>
                    <a:pt x="493928" y="251409"/>
                  </a:lnTo>
                  <a:lnTo>
                    <a:pt x="485660" y="269849"/>
                  </a:lnTo>
                  <a:lnTo>
                    <a:pt x="494626" y="278180"/>
                  </a:lnTo>
                  <a:lnTo>
                    <a:pt x="519518" y="277469"/>
                  </a:lnTo>
                  <a:lnTo>
                    <a:pt x="559015" y="268744"/>
                  </a:lnTo>
                  <a:lnTo>
                    <a:pt x="591350" y="260896"/>
                  </a:lnTo>
                  <a:lnTo>
                    <a:pt x="632193" y="253288"/>
                  </a:lnTo>
                  <a:lnTo>
                    <a:pt x="677849" y="248373"/>
                  </a:lnTo>
                  <a:lnTo>
                    <a:pt x="724573" y="248615"/>
                  </a:lnTo>
                  <a:lnTo>
                    <a:pt x="746099" y="251523"/>
                  </a:lnTo>
                  <a:lnTo>
                    <a:pt x="797928" y="260692"/>
                  </a:lnTo>
                  <a:lnTo>
                    <a:pt x="815365" y="262813"/>
                  </a:lnTo>
                  <a:close/>
                </a:path>
              </a:pathLst>
            </a:custGeom>
            <a:solidFill>
              <a:srgbClr val="F8FC7B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object 86">
              <a:extLst>
                <a:ext uri="{FF2B5EF4-FFF2-40B4-BE49-F238E27FC236}">
                  <a16:creationId xmlns:a16="http://schemas.microsoft.com/office/drawing/2014/main" id="{DFA78853-B814-48DB-A4FE-ADE2B03A9305}"/>
                </a:ext>
              </a:extLst>
            </p:cNvPr>
            <p:cNvSpPr/>
            <p:nvPr/>
          </p:nvSpPr>
          <p:spPr>
            <a:xfrm>
              <a:off x="2495131" y="8581891"/>
              <a:ext cx="958850" cy="557530"/>
            </a:xfrm>
            <a:custGeom>
              <a:avLst/>
              <a:gdLst/>
              <a:ahLst/>
              <a:cxnLst/>
              <a:rect l="l" t="t" r="r" b="b"/>
              <a:pathLst>
                <a:path w="958850" h="557529">
                  <a:moveTo>
                    <a:pt x="196748" y="331927"/>
                  </a:moveTo>
                  <a:lnTo>
                    <a:pt x="194386" y="320205"/>
                  </a:lnTo>
                  <a:lnTo>
                    <a:pt x="187934" y="310642"/>
                  </a:lnTo>
                  <a:lnTo>
                    <a:pt x="178346" y="304203"/>
                  </a:lnTo>
                  <a:lnTo>
                    <a:pt x="166624" y="301828"/>
                  </a:lnTo>
                  <a:lnTo>
                    <a:pt x="154914" y="304203"/>
                  </a:lnTo>
                  <a:lnTo>
                    <a:pt x="145338" y="310642"/>
                  </a:lnTo>
                  <a:lnTo>
                    <a:pt x="138874" y="320205"/>
                  </a:lnTo>
                  <a:lnTo>
                    <a:pt x="136499" y="331927"/>
                  </a:lnTo>
                  <a:lnTo>
                    <a:pt x="138874" y="343636"/>
                  </a:lnTo>
                  <a:lnTo>
                    <a:pt x="145338" y="353199"/>
                  </a:lnTo>
                  <a:lnTo>
                    <a:pt x="154914" y="359638"/>
                  </a:lnTo>
                  <a:lnTo>
                    <a:pt x="166624" y="362013"/>
                  </a:lnTo>
                  <a:lnTo>
                    <a:pt x="178346" y="359638"/>
                  </a:lnTo>
                  <a:lnTo>
                    <a:pt x="187934" y="353199"/>
                  </a:lnTo>
                  <a:lnTo>
                    <a:pt x="194386" y="343636"/>
                  </a:lnTo>
                  <a:lnTo>
                    <a:pt x="196748" y="331927"/>
                  </a:lnTo>
                  <a:close/>
                </a:path>
                <a:path w="958850" h="557529">
                  <a:moveTo>
                    <a:pt x="240982" y="278739"/>
                  </a:moveTo>
                  <a:lnTo>
                    <a:pt x="239242" y="270129"/>
                  </a:lnTo>
                  <a:lnTo>
                    <a:pt x="234505" y="263093"/>
                  </a:lnTo>
                  <a:lnTo>
                    <a:pt x="227482" y="258343"/>
                  </a:lnTo>
                  <a:lnTo>
                    <a:pt x="218871" y="256603"/>
                  </a:lnTo>
                  <a:lnTo>
                    <a:pt x="210261" y="258343"/>
                  </a:lnTo>
                  <a:lnTo>
                    <a:pt x="203225" y="263093"/>
                  </a:lnTo>
                  <a:lnTo>
                    <a:pt x="198488" y="270129"/>
                  </a:lnTo>
                  <a:lnTo>
                    <a:pt x="196748" y="278739"/>
                  </a:lnTo>
                  <a:lnTo>
                    <a:pt x="198488" y="287350"/>
                  </a:lnTo>
                  <a:lnTo>
                    <a:pt x="203225" y="294373"/>
                  </a:lnTo>
                  <a:lnTo>
                    <a:pt x="210261" y="299110"/>
                  </a:lnTo>
                  <a:lnTo>
                    <a:pt x="218871" y="300850"/>
                  </a:lnTo>
                  <a:lnTo>
                    <a:pt x="227482" y="299110"/>
                  </a:lnTo>
                  <a:lnTo>
                    <a:pt x="234505" y="294373"/>
                  </a:lnTo>
                  <a:lnTo>
                    <a:pt x="239242" y="287350"/>
                  </a:lnTo>
                  <a:lnTo>
                    <a:pt x="240982" y="278739"/>
                  </a:lnTo>
                  <a:close/>
                </a:path>
                <a:path w="958850" h="557529">
                  <a:moveTo>
                    <a:pt x="672528" y="281546"/>
                  </a:moveTo>
                  <a:lnTo>
                    <a:pt x="670166" y="269836"/>
                  </a:lnTo>
                  <a:lnTo>
                    <a:pt x="663714" y="260261"/>
                  </a:lnTo>
                  <a:lnTo>
                    <a:pt x="654151" y="253796"/>
                  </a:lnTo>
                  <a:lnTo>
                    <a:pt x="642442" y="251434"/>
                  </a:lnTo>
                  <a:lnTo>
                    <a:pt x="630707" y="253796"/>
                  </a:lnTo>
                  <a:lnTo>
                    <a:pt x="621144" y="260261"/>
                  </a:lnTo>
                  <a:lnTo>
                    <a:pt x="614692" y="269836"/>
                  </a:lnTo>
                  <a:lnTo>
                    <a:pt x="612330" y="281546"/>
                  </a:lnTo>
                  <a:lnTo>
                    <a:pt x="614692" y="293268"/>
                  </a:lnTo>
                  <a:lnTo>
                    <a:pt x="621144" y="302831"/>
                  </a:lnTo>
                  <a:lnTo>
                    <a:pt x="630707" y="309270"/>
                  </a:lnTo>
                  <a:lnTo>
                    <a:pt x="642442" y="311632"/>
                  </a:lnTo>
                  <a:lnTo>
                    <a:pt x="654151" y="309270"/>
                  </a:lnTo>
                  <a:lnTo>
                    <a:pt x="663714" y="302831"/>
                  </a:lnTo>
                  <a:lnTo>
                    <a:pt x="670166" y="293268"/>
                  </a:lnTo>
                  <a:lnTo>
                    <a:pt x="672528" y="281546"/>
                  </a:lnTo>
                  <a:close/>
                </a:path>
                <a:path w="958850" h="557529">
                  <a:moveTo>
                    <a:pt x="751814" y="157632"/>
                  </a:moveTo>
                  <a:lnTo>
                    <a:pt x="750074" y="149034"/>
                  </a:lnTo>
                  <a:lnTo>
                    <a:pt x="745324" y="142011"/>
                  </a:lnTo>
                  <a:lnTo>
                    <a:pt x="738289" y="137261"/>
                  </a:lnTo>
                  <a:lnTo>
                    <a:pt x="729691" y="135521"/>
                  </a:lnTo>
                  <a:lnTo>
                    <a:pt x="721067" y="137261"/>
                  </a:lnTo>
                  <a:lnTo>
                    <a:pt x="714032" y="142011"/>
                  </a:lnTo>
                  <a:lnTo>
                    <a:pt x="709282" y="149034"/>
                  </a:lnTo>
                  <a:lnTo>
                    <a:pt x="707542" y="157632"/>
                  </a:lnTo>
                  <a:lnTo>
                    <a:pt x="709282" y="166243"/>
                  </a:lnTo>
                  <a:lnTo>
                    <a:pt x="714032" y="173278"/>
                  </a:lnTo>
                  <a:lnTo>
                    <a:pt x="721067" y="178015"/>
                  </a:lnTo>
                  <a:lnTo>
                    <a:pt x="729691" y="179755"/>
                  </a:lnTo>
                  <a:lnTo>
                    <a:pt x="738289" y="178015"/>
                  </a:lnTo>
                  <a:lnTo>
                    <a:pt x="745324" y="173278"/>
                  </a:lnTo>
                  <a:lnTo>
                    <a:pt x="750074" y="166243"/>
                  </a:lnTo>
                  <a:lnTo>
                    <a:pt x="751814" y="157632"/>
                  </a:lnTo>
                  <a:close/>
                </a:path>
                <a:path w="958850" h="557529">
                  <a:moveTo>
                    <a:pt x="769175" y="234086"/>
                  </a:moveTo>
                  <a:lnTo>
                    <a:pt x="765441" y="215607"/>
                  </a:lnTo>
                  <a:lnTo>
                    <a:pt x="755269" y="200533"/>
                  </a:lnTo>
                  <a:lnTo>
                    <a:pt x="740168" y="190373"/>
                  </a:lnTo>
                  <a:lnTo>
                    <a:pt x="721677" y="186639"/>
                  </a:lnTo>
                  <a:lnTo>
                    <a:pt x="703199" y="190373"/>
                  </a:lnTo>
                  <a:lnTo>
                    <a:pt x="688124" y="200533"/>
                  </a:lnTo>
                  <a:lnTo>
                    <a:pt x="677951" y="215607"/>
                  </a:lnTo>
                  <a:lnTo>
                    <a:pt x="674230" y="234086"/>
                  </a:lnTo>
                  <a:lnTo>
                    <a:pt x="677951" y="252564"/>
                  </a:lnTo>
                  <a:lnTo>
                    <a:pt x="688124" y="267652"/>
                  </a:lnTo>
                  <a:lnTo>
                    <a:pt x="703199" y="277812"/>
                  </a:lnTo>
                  <a:lnTo>
                    <a:pt x="721677" y="281546"/>
                  </a:lnTo>
                  <a:lnTo>
                    <a:pt x="740168" y="277812"/>
                  </a:lnTo>
                  <a:lnTo>
                    <a:pt x="755269" y="267652"/>
                  </a:lnTo>
                  <a:lnTo>
                    <a:pt x="765441" y="252564"/>
                  </a:lnTo>
                  <a:lnTo>
                    <a:pt x="769175" y="234086"/>
                  </a:lnTo>
                  <a:close/>
                </a:path>
                <a:path w="958850" h="557529">
                  <a:moveTo>
                    <a:pt x="958621" y="208165"/>
                  </a:moveTo>
                  <a:lnTo>
                    <a:pt x="952665" y="162712"/>
                  </a:lnTo>
                  <a:lnTo>
                    <a:pt x="935824" y="121767"/>
                  </a:lnTo>
                  <a:lnTo>
                    <a:pt x="909688" y="86868"/>
                  </a:lnTo>
                  <a:lnTo>
                    <a:pt x="875817" y="59537"/>
                  </a:lnTo>
                  <a:lnTo>
                    <a:pt x="875055" y="44183"/>
                  </a:lnTo>
                  <a:lnTo>
                    <a:pt x="873264" y="29133"/>
                  </a:lnTo>
                  <a:lnTo>
                    <a:pt x="870521" y="14401"/>
                  </a:lnTo>
                  <a:lnTo>
                    <a:pt x="866863" y="0"/>
                  </a:lnTo>
                  <a:lnTo>
                    <a:pt x="857478" y="13373"/>
                  </a:lnTo>
                  <a:lnTo>
                    <a:pt x="845413" y="25895"/>
                  </a:lnTo>
                  <a:lnTo>
                    <a:pt x="830389" y="36550"/>
                  </a:lnTo>
                  <a:lnTo>
                    <a:pt x="812076" y="44361"/>
                  </a:lnTo>
                  <a:lnTo>
                    <a:pt x="782815" y="59944"/>
                  </a:lnTo>
                  <a:lnTo>
                    <a:pt x="777722" y="76327"/>
                  </a:lnTo>
                  <a:lnTo>
                    <a:pt x="784009" y="89268"/>
                  </a:lnTo>
                  <a:lnTo>
                    <a:pt x="788949" y="94526"/>
                  </a:lnTo>
                  <a:lnTo>
                    <a:pt x="833628" y="176466"/>
                  </a:lnTo>
                  <a:lnTo>
                    <a:pt x="843089" y="226682"/>
                  </a:lnTo>
                  <a:lnTo>
                    <a:pt x="812469" y="265760"/>
                  </a:lnTo>
                  <a:lnTo>
                    <a:pt x="736879" y="314299"/>
                  </a:lnTo>
                  <a:lnTo>
                    <a:pt x="690295" y="334670"/>
                  </a:lnTo>
                  <a:lnTo>
                    <a:pt x="637222" y="345262"/>
                  </a:lnTo>
                  <a:lnTo>
                    <a:pt x="581444" y="346379"/>
                  </a:lnTo>
                  <a:lnTo>
                    <a:pt x="526732" y="338391"/>
                  </a:lnTo>
                  <a:lnTo>
                    <a:pt x="467194" y="310134"/>
                  </a:lnTo>
                  <a:lnTo>
                    <a:pt x="418122" y="267284"/>
                  </a:lnTo>
                  <a:lnTo>
                    <a:pt x="384810" y="228155"/>
                  </a:lnTo>
                  <a:lnTo>
                    <a:pt x="372541" y="211048"/>
                  </a:lnTo>
                  <a:lnTo>
                    <a:pt x="377926" y="299796"/>
                  </a:lnTo>
                  <a:lnTo>
                    <a:pt x="365252" y="349580"/>
                  </a:lnTo>
                  <a:lnTo>
                    <a:pt x="321500" y="378548"/>
                  </a:lnTo>
                  <a:lnTo>
                    <a:pt x="233629" y="404901"/>
                  </a:lnTo>
                  <a:lnTo>
                    <a:pt x="180479" y="405028"/>
                  </a:lnTo>
                  <a:lnTo>
                    <a:pt x="133794" y="386168"/>
                  </a:lnTo>
                  <a:lnTo>
                    <a:pt x="100609" y="363626"/>
                  </a:lnTo>
                  <a:lnTo>
                    <a:pt x="87985" y="352717"/>
                  </a:lnTo>
                  <a:lnTo>
                    <a:pt x="81280" y="355041"/>
                  </a:lnTo>
                  <a:lnTo>
                    <a:pt x="73723" y="356336"/>
                  </a:lnTo>
                  <a:lnTo>
                    <a:pt x="60553" y="357085"/>
                  </a:lnTo>
                  <a:lnTo>
                    <a:pt x="16929" y="358152"/>
                  </a:lnTo>
                  <a:lnTo>
                    <a:pt x="0" y="358254"/>
                  </a:lnTo>
                  <a:lnTo>
                    <a:pt x="3403" y="364070"/>
                  </a:lnTo>
                  <a:lnTo>
                    <a:pt x="38658" y="394817"/>
                  </a:lnTo>
                  <a:lnTo>
                    <a:pt x="69227" y="403974"/>
                  </a:lnTo>
                  <a:lnTo>
                    <a:pt x="82613" y="453148"/>
                  </a:lnTo>
                  <a:lnTo>
                    <a:pt x="108775" y="495363"/>
                  </a:lnTo>
                  <a:lnTo>
                    <a:pt x="145453" y="528345"/>
                  </a:lnTo>
                  <a:lnTo>
                    <a:pt x="190398" y="549808"/>
                  </a:lnTo>
                  <a:lnTo>
                    <a:pt x="241363" y="557466"/>
                  </a:lnTo>
                  <a:lnTo>
                    <a:pt x="287032" y="551357"/>
                  </a:lnTo>
                  <a:lnTo>
                    <a:pt x="328104" y="534085"/>
                  </a:lnTo>
                  <a:lnTo>
                    <a:pt x="363004" y="507276"/>
                  </a:lnTo>
                  <a:lnTo>
                    <a:pt x="390144" y="472541"/>
                  </a:lnTo>
                  <a:lnTo>
                    <a:pt x="407924" y="431520"/>
                  </a:lnTo>
                  <a:lnTo>
                    <a:pt x="436626" y="437692"/>
                  </a:lnTo>
                  <a:lnTo>
                    <a:pt x="466242" y="437654"/>
                  </a:lnTo>
                  <a:lnTo>
                    <a:pt x="495706" y="431190"/>
                  </a:lnTo>
                  <a:lnTo>
                    <a:pt x="523951" y="418071"/>
                  </a:lnTo>
                  <a:lnTo>
                    <a:pt x="554088" y="441782"/>
                  </a:lnTo>
                  <a:lnTo>
                    <a:pt x="588086" y="459917"/>
                  </a:lnTo>
                  <a:lnTo>
                    <a:pt x="625335" y="471779"/>
                  </a:lnTo>
                  <a:lnTo>
                    <a:pt x="665226" y="476643"/>
                  </a:lnTo>
                  <a:lnTo>
                    <a:pt x="692962" y="475640"/>
                  </a:lnTo>
                  <a:lnTo>
                    <a:pt x="719759" y="471182"/>
                  </a:lnTo>
                  <a:lnTo>
                    <a:pt x="745401" y="463511"/>
                  </a:lnTo>
                  <a:lnTo>
                    <a:pt x="769683" y="452831"/>
                  </a:lnTo>
                  <a:lnTo>
                    <a:pt x="781799" y="464629"/>
                  </a:lnTo>
                  <a:lnTo>
                    <a:pt x="796201" y="473633"/>
                  </a:lnTo>
                  <a:lnTo>
                    <a:pt x="812469" y="479361"/>
                  </a:lnTo>
                  <a:lnTo>
                    <a:pt x="830160" y="481380"/>
                  </a:lnTo>
                  <a:lnTo>
                    <a:pt x="860831" y="475170"/>
                  </a:lnTo>
                  <a:lnTo>
                    <a:pt x="885875" y="458266"/>
                  </a:lnTo>
                  <a:lnTo>
                    <a:pt x="902766" y="433171"/>
                  </a:lnTo>
                  <a:lnTo>
                    <a:pt x="908964" y="402424"/>
                  </a:lnTo>
                  <a:lnTo>
                    <a:pt x="907491" y="387248"/>
                  </a:lnTo>
                  <a:lnTo>
                    <a:pt x="903274" y="373062"/>
                  </a:lnTo>
                  <a:lnTo>
                    <a:pt x="896594" y="360133"/>
                  </a:lnTo>
                  <a:lnTo>
                    <a:pt x="887742" y="348729"/>
                  </a:lnTo>
                  <a:lnTo>
                    <a:pt x="916914" y="321475"/>
                  </a:lnTo>
                  <a:lnTo>
                    <a:pt x="939266" y="288188"/>
                  </a:lnTo>
                  <a:lnTo>
                    <a:pt x="953579" y="250024"/>
                  </a:lnTo>
                  <a:lnTo>
                    <a:pt x="958621" y="208165"/>
                  </a:lnTo>
                  <a:close/>
                </a:path>
              </a:pathLst>
            </a:custGeom>
            <a:solidFill>
              <a:srgbClr val="256420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1" name="object 87">
              <a:extLst>
                <a:ext uri="{FF2B5EF4-FFF2-40B4-BE49-F238E27FC236}">
                  <a16:creationId xmlns:a16="http://schemas.microsoft.com/office/drawing/2014/main" id="{1A093573-6D20-4807-9414-86D001DA3924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277108" y="8896885"/>
              <a:ext cx="87841" cy="97912"/>
            </a:xfrm>
            <a:prstGeom prst="rect">
              <a:avLst/>
            </a:prstGeom>
          </p:spPr>
        </p:pic>
        <p:sp>
          <p:nvSpPr>
            <p:cNvPr id="52" name="object 88">
              <a:extLst>
                <a:ext uri="{FF2B5EF4-FFF2-40B4-BE49-F238E27FC236}">
                  <a16:creationId xmlns:a16="http://schemas.microsoft.com/office/drawing/2014/main" id="{0DDE0D3E-7ECA-471C-A666-5B5B2CDC1537}"/>
                </a:ext>
              </a:extLst>
            </p:cNvPr>
            <p:cNvSpPr/>
            <p:nvPr/>
          </p:nvSpPr>
          <p:spPr>
            <a:xfrm>
              <a:off x="2750001" y="8360787"/>
              <a:ext cx="60325" cy="60325"/>
            </a:xfrm>
            <a:custGeom>
              <a:avLst/>
              <a:gdLst/>
              <a:ahLst/>
              <a:cxnLst/>
              <a:rect l="l" t="t" r="r" b="b"/>
              <a:pathLst>
                <a:path w="60325" h="60325">
                  <a:moveTo>
                    <a:pt x="30103" y="0"/>
                  </a:moveTo>
                  <a:lnTo>
                    <a:pt x="18385" y="2363"/>
                  </a:lnTo>
                  <a:lnTo>
                    <a:pt x="8816" y="8809"/>
                  </a:lnTo>
                  <a:lnTo>
                    <a:pt x="2365" y="18371"/>
                  </a:lnTo>
                  <a:lnTo>
                    <a:pt x="0" y="30082"/>
                  </a:lnTo>
                  <a:lnTo>
                    <a:pt x="2365" y="41801"/>
                  </a:lnTo>
                  <a:lnTo>
                    <a:pt x="8816" y="51370"/>
                  </a:lnTo>
                  <a:lnTo>
                    <a:pt x="18385" y="57821"/>
                  </a:lnTo>
                  <a:lnTo>
                    <a:pt x="30103" y="60186"/>
                  </a:lnTo>
                  <a:lnTo>
                    <a:pt x="41811" y="57821"/>
                  </a:lnTo>
                  <a:lnTo>
                    <a:pt x="51378" y="51370"/>
                  </a:lnTo>
                  <a:lnTo>
                    <a:pt x="57830" y="41801"/>
                  </a:lnTo>
                  <a:lnTo>
                    <a:pt x="60197" y="30082"/>
                  </a:lnTo>
                  <a:lnTo>
                    <a:pt x="57830" y="18371"/>
                  </a:lnTo>
                  <a:lnTo>
                    <a:pt x="51378" y="8809"/>
                  </a:lnTo>
                  <a:lnTo>
                    <a:pt x="41811" y="2363"/>
                  </a:lnTo>
                  <a:lnTo>
                    <a:pt x="30103" y="0"/>
                  </a:lnTo>
                  <a:close/>
                </a:path>
              </a:pathLst>
            </a:custGeom>
            <a:solidFill>
              <a:srgbClr val="F8FC7B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3" name="object 89">
              <a:extLst>
                <a:ext uri="{FF2B5EF4-FFF2-40B4-BE49-F238E27FC236}">
                  <a16:creationId xmlns:a16="http://schemas.microsoft.com/office/drawing/2014/main" id="{1FB4D278-47FC-44A2-A8B5-3957FF78789B}"/>
                </a:ext>
              </a:extLst>
            </p:cNvPr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631639" y="8668332"/>
              <a:ext cx="98237" cy="98143"/>
            </a:xfrm>
            <a:prstGeom prst="rect">
              <a:avLst/>
            </a:prstGeom>
          </p:spPr>
        </p:pic>
        <p:sp>
          <p:nvSpPr>
            <p:cNvPr id="54" name="object 90">
              <a:extLst>
                <a:ext uri="{FF2B5EF4-FFF2-40B4-BE49-F238E27FC236}">
                  <a16:creationId xmlns:a16="http://schemas.microsoft.com/office/drawing/2014/main" id="{B3C05A69-576D-41BD-98D1-7C6DC8EFE2F1}"/>
                </a:ext>
              </a:extLst>
            </p:cNvPr>
            <p:cNvSpPr/>
            <p:nvPr/>
          </p:nvSpPr>
          <p:spPr>
            <a:xfrm>
              <a:off x="2798140" y="8322049"/>
              <a:ext cx="184150" cy="218440"/>
            </a:xfrm>
            <a:custGeom>
              <a:avLst/>
              <a:gdLst/>
              <a:ahLst/>
              <a:cxnLst/>
              <a:rect l="l" t="t" r="r" b="b"/>
              <a:pathLst>
                <a:path w="184150" h="218440">
                  <a:moveTo>
                    <a:pt x="28308" y="6324"/>
                  </a:moveTo>
                  <a:lnTo>
                    <a:pt x="21958" y="0"/>
                  </a:lnTo>
                  <a:lnTo>
                    <a:pt x="6324" y="0"/>
                  </a:lnTo>
                  <a:lnTo>
                    <a:pt x="0" y="6324"/>
                  </a:lnTo>
                  <a:lnTo>
                    <a:pt x="0" y="21958"/>
                  </a:lnTo>
                  <a:lnTo>
                    <a:pt x="6324" y="28295"/>
                  </a:lnTo>
                  <a:lnTo>
                    <a:pt x="21958" y="28295"/>
                  </a:lnTo>
                  <a:lnTo>
                    <a:pt x="28308" y="21958"/>
                  </a:lnTo>
                  <a:lnTo>
                    <a:pt x="28308" y="14160"/>
                  </a:lnTo>
                  <a:lnTo>
                    <a:pt x="28308" y="6324"/>
                  </a:lnTo>
                  <a:close/>
                </a:path>
                <a:path w="184150" h="218440">
                  <a:moveTo>
                    <a:pt x="183934" y="196278"/>
                  </a:moveTo>
                  <a:lnTo>
                    <a:pt x="177634" y="189941"/>
                  </a:lnTo>
                  <a:lnTo>
                    <a:pt x="161975" y="189941"/>
                  </a:lnTo>
                  <a:lnTo>
                    <a:pt x="155625" y="196278"/>
                  </a:lnTo>
                  <a:lnTo>
                    <a:pt x="155625" y="211912"/>
                  </a:lnTo>
                  <a:lnTo>
                    <a:pt x="161975" y="218236"/>
                  </a:lnTo>
                  <a:lnTo>
                    <a:pt x="177634" y="218236"/>
                  </a:lnTo>
                  <a:lnTo>
                    <a:pt x="183934" y="211912"/>
                  </a:lnTo>
                  <a:lnTo>
                    <a:pt x="183934" y="204089"/>
                  </a:lnTo>
                  <a:lnTo>
                    <a:pt x="183934" y="196278"/>
                  </a:lnTo>
                  <a:close/>
                </a:path>
              </a:pathLst>
            </a:custGeom>
            <a:solidFill>
              <a:srgbClr val="F8FC7B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object 91">
              <a:extLst>
                <a:ext uri="{FF2B5EF4-FFF2-40B4-BE49-F238E27FC236}">
                  <a16:creationId xmlns:a16="http://schemas.microsoft.com/office/drawing/2014/main" id="{3CC0F2FA-38B9-407A-BFFC-67A7026A305F}"/>
                </a:ext>
              </a:extLst>
            </p:cNvPr>
            <p:cNvSpPr/>
            <p:nvPr/>
          </p:nvSpPr>
          <p:spPr>
            <a:xfrm>
              <a:off x="2892951" y="9163203"/>
              <a:ext cx="39370" cy="281305"/>
            </a:xfrm>
            <a:custGeom>
              <a:avLst/>
              <a:gdLst/>
              <a:ahLst/>
              <a:cxnLst/>
              <a:rect l="l" t="t" r="r" b="b"/>
              <a:pathLst>
                <a:path w="39369" h="281304">
                  <a:moveTo>
                    <a:pt x="38930" y="0"/>
                  </a:moveTo>
                  <a:lnTo>
                    <a:pt x="28292" y="2722"/>
                  </a:lnTo>
                  <a:lnTo>
                    <a:pt x="25548" y="49859"/>
                  </a:lnTo>
                  <a:lnTo>
                    <a:pt x="21710" y="141353"/>
                  </a:lnTo>
                  <a:lnTo>
                    <a:pt x="20062" y="166350"/>
                  </a:lnTo>
                  <a:lnTo>
                    <a:pt x="15939" y="195589"/>
                  </a:lnTo>
                  <a:lnTo>
                    <a:pt x="11071" y="225481"/>
                  </a:lnTo>
                  <a:lnTo>
                    <a:pt x="5683" y="254479"/>
                  </a:lnTo>
                  <a:lnTo>
                    <a:pt x="0" y="281038"/>
                  </a:lnTo>
                  <a:lnTo>
                    <a:pt x="24763" y="281038"/>
                  </a:lnTo>
                  <a:lnTo>
                    <a:pt x="38930" y="200664"/>
                  </a:lnTo>
                  <a:lnTo>
                    <a:pt x="38930" y="21224"/>
                  </a:lnTo>
                  <a:lnTo>
                    <a:pt x="38930" y="0"/>
                  </a:lnTo>
                  <a:close/>
                </a:path>
              </a:pathLst>
            </a:custGeom>
            <a:solidFill>
              <a:srgbClr val="B76C3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6" name="object 92">
              <a:extLst>
                <a:ext uri="{FF2B5EF4-FFF2-40B4-BE49-F238E27FC236}">
                  <a16:creationId xmlns:a16="http://schemas.microsoft.com/office/drawing/2014/main" id="{B9B3D3BE-4017-42A5-A4D4-42A02F9318A1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507714" y="4080888"/>
              <a:ext cx="4850467" cy="5367724"/>
            </a:xfrm>
            <a:prstGeom prst="rect">
              <a:avLst/>
            </a:prstGeom>
          </p:spPr>
        </p:pic>
        <p:sp>
          <p:nvSpPr>
            <p:cNvPr id="57" name="object 93">
              <a:extLst>
                <a:ext uri="{FF2B5EF4-FFF2-40B4-BE49-F238E27FC236}">
                  <a16:creationId xmlns:a16="http://schemas.microsoft.com/office/drawing/2014/main" id="{22779383-6B16-4503-92AD-BAA47AD53C2A}"/>
                </a:ext>
              </a:extLst>
            </p:cNvPr>
            <p:cNvSpPr/>
            <p:nvPr/>
          </p:nvSpPr>
          <p:spPr>
            <a:xfrm>
              <a:off x="4018297" y="5209013"/>
              <a:ext cx="646430" cy="400685"/>
            </a:xfrm>
            <a:custGeom>
              <a:avLst/>
              <a:gdLst/>
              <a:ahLst/>
              <a:cxnLst/>
              <a:rect l="l" t="t" r="r" b="b"/>
              <a:pathLst>
                <a:path w="646429" h="400685">
                  <a:moveTo>
                    <a:pt x="66699" y="0"/>
                  </a:moveTo>
                  <a:lnTo>
                    <a:pt x="28138" y="30340"/>
                  </a:lnTo>
                  <a:lnTo>
                    <a:pt x="8337" y="51104"/>
                  </a:lnTo>
                  <a:lnTo>
                    <a:pt x="1042" y="71878"/>
                  </a:lnTo>
                  <a:lnTo>
                    <a:pt x="0" y="102248"/>
                  </a:lnTo>
                  <a:lnTo>
                    <a:pt x="3993" y="149841"/>
                  </a:lnTo>
                  <a:lnTo>
                    <a:pt x="12779" y="204612"/>
                  </a:lnTo>
                  <a:lnTo>
                    <a:pt x="21565" y="249782"/>
                  </a:lnTo>
                  <a:lnTo>
                    <a:pt x="25559" y="268567"/>
                  </a:lnTo>
                  <a:lnTo>
                    <a:pt x="169167" y="300514"/>
                  </a:lnTo>
                  <a:lnTo>
                    <a:pt x="494791" y="400532"/>
                  </a:lnTo>
                  <a:lnTo>
                    <a:pt x="575657" y="394940"/>
                  </a:lnTo>
                  <a:lnTo>
                    <a:pt x="612767" y="354328"/>
                  </a:lnTo>
                  <a:lnTo>
                    <a:pt x="641340" y="291495"/>
                  </a:lnTo>
                  <a:lnTo>
                    <a:pt x="645990" y="240275"/>
                  </a:lnTo>
                  <a:lnTo>
                    <a:pt x="636698" y="185084"/>
                  </a:lnTo>
                  <a:lnTo>
                    <a:pt x="610049" y="148308"/>
                  </a:lnTo>
                  <a:lnTo>
                    <a:pt x="582206" y="127809"/>
                  </a:lnTo>
                  <a:lnTo>
                    <a:pt x="569333" y="121451"/>
                  </a:lnTo>
                  <a:lnTo>
                    <a:pt x="66699" y="0"/>
                  </a:lnTo>
                  <a:close/>
                </a:path>
              </a:pathLst>
            </a:custGeom>
            <a:solidFill>
              <a:srgbClr val="8E99A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object 94">
              <a:extLst>
                <a:ext uri="{FF2B5EF4-FFF2-40B4-BE49-F238E27FC236}">
                  <a16:creationId xmlns:a16="http://schemas.microsoft.com/office/drawing/2014/main" id="{EDE2F1E5-4B5D-4F8C-AC4C-7FEA2BF87894}"/>
                </a:ext>
              </a:extLst>
            </p:cNvPr>
            <p:cNvSpPr/>
            <p:nvPr/>
          </p:nvSpPr>
          <p:spPr>
            <a:xfrm>
              <a:off x="4018299" y="5209008"/>
              <a:ext cx="646430" cy="240665"/>
            </a:xfrm>
            <a:custGeom>
              <a:avLst/>
              <a:gdLst/>
              <a:ahLst/>
              <a:cxnLst/>
              <a:rect l="l" t="t" r="r" b="b"/>
              <a:pathLst>
                <a:path w="646429" h="240664">
                  <a:moveTo>
                    <a:pt x="66699" y="0"/>
                  </a:moveTo>
                  <a:lnTo>
                    <a:pt x="28138" y="30346"/>
                  </a:lnTo>
                  <a:lnTo>
                    <a:pt x="8337" y="51113"/>
                  </a:lnTo>
                  <a:lnTo>
                    <a:pt x="1042" y="71888"/>
                  </a:lnTo>
                  <a:lnTo>
                    <a:pt x="0" y="102258"/>
                  </a:lnTo>
                  <a:lnTo>
                    <a:pt x="38725" y="112977"/>
                  </a:lnTo>
                  <a:lnTo>
                    <a:pt x="81248" y="122827"/>
                  </a:lnTo>
                  <a:lnTo>
                    <a:pt x="127029" y="132041"/>
                  </a:lnTo>
                  <a:lnTo>
                    <a:pt x="175533" y="140850"/>
                  </a:lnTo>
                  <a:lnTo>
                    <a:pt x="226222" y="149487"/>
                  </a:lnTo>
                  <a:lnTo>
                    <a:pt x="332010" y="167174"/>
                  </a:lnTo>
                  <a:lnTo>
                    <a:pt x="386035" y="176689"/>
                  </a:lnTo>
                  <a:lnTo>
                    <a:pt x="440098" y="186962"/>
                  </a:lnTo>
                  <a:lnTo>
                    <a:pt x="493661" y="198225"/>
                  </a:lnTo>
                  <a:lnTo>
                    <a:pt x="546189" y="210709"/>
                  </a:lnTo>
                  <a:lnTo>
                    <a:pt x="597145" y="224649"/>
                  </a:lnTo>
                  <a:lnTo>
                    <a:pt x="645990" y="240275"/>
                  </a:lnTo>
                  <a:lnTo>
                    <a:pt x="636698" y="185088"/>
                  </a:lnTo>
                  <a:lnTo>
                    <a:pt x="610049" y="148312"/>
                  </a:lnTo>
                  <a:lnTo>
                    <a:pt x="582206" y="127811"/>
                  </a:lnTo>
                  <a:lnTo>
                    <a:pt x="569333" y="121451"/>
                  </a:lnTo>
                  <a:lnTo>
                    <a:pt x="66699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59" name="object 95">
              <a:extLst>
                <a:ext uri="{FF2B5EF4-FFF2-40B4-BE49-F238E27FC236}">
                  <a16:creationId xmlns:a16="http://schemas.microsoft.com/office/drawing/2014/main" id="{6B761224-86E3-4C59-8CB5-1933EBA33ABB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3976003" y="5229075"/>
              <a:ext cx="124389" cy="232809"/>
            </a:xfrm>
            <a:prstGeom prst="rect">
              <a:avLst/>
            </a:prstGeom>
          </p:spPr>
        </p:pic>
        <p:sp>
          <p:nvSpPr>
            <p:cNvPr id="60" name="object 96">
              <a:extLst>
                <a:ext uri="{FF2B5EF4-FFF2-40B4-BE49-F238E27FC236}">
                  <a16:creationId xmlns:a16="http://schemas.microsoft.com/office/drawing/2014/main" id="{1567AB3B-F264-4B0E-872B-2EE3B0811856}"/>
                </a:ext>
              </a:extLst>
            </p:cNvPr>
            <p:cNvSpPr/>
            <p:nvPr/>
          </p:nvSpPr>
          <p:spPr>
            <a:xfrm>
              <a:off x="4018297" y="5311261"/>
              <a:ext cx="575945" cy="298450"/>
            </a:xfrm>
            <a:custGeom>
              <a:avLst/>
              <a:gdLst/>
              <a:ahLst/>
              <a:cxnLst/>
              <a:rect l="l" t="t" r="r" b="b"/>
              <a:pathLst>
                <a:path w="575945" h="298450">
                  <a:moveTo>
                    <a:pt x="0" y="0"/>
                  </a:moveTo>
                  <a:lnTo>
                    <a:pt x="3993" y="47592"/>
                  </a:lnTo>
                  <a:lnTo>
                    <a:pt x="12779" y="102364"/>
                  </a:lnTo>
                  <a:lnTo>
                    <a:pt x="21565" y="147533"/>
                  </a:lnTo>
                  <a:lnTo>
                    <a:pt x="169167" y="198266"/>
                  </a:lnTo>
                  <a:lnTo>
                    <a:pt x="494791" y="298284"/>
                  </a:lnTo>
                  <a:lnTo>
                    <a:pt x="575657" y="292692"/>
                  </a:lnTo>
                  <a:lnTo>
                    <a:pt x="540918" y="212640"/>
                  </a:lnTo>
                  <a:lnTo>
                    <a:pt x="469374" y="155467"/>
                  </a:lnTo>
                  <a:lnTo>
                    <a:pt x="307057" y="937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object 97">
              <a:extLst>
                <a:ext uri="{FF2B5EF4-FFF2-40B4-BE49-F238E27FC236}">
                  <a16:creationId xmlns:a16="http://schemas.microsoft.com/office/drawing/2014/main" id="{E705FA31-3A94-480B-B559-4994A9D10422}"/>
                </a:ext>
              </a:extLst>
            </p:cNvPr>
            <p:cNvSpPr/>
            <p:nvPr/>
          </p:nvSpPr>
          <p:spPr>
            <a:xfrm>
              <a:off x="2788133" y="3863225"/>
              <a:ext cx="1262380" cy="1475740"/>
            </a:xfrm>
            <a:custGeom>
              <a:avLst/>
              <a:gdLst/>
              <a:ahLst/>
              <a:cxnLst/>
              <a:rect l="l" t="t" r="r" b="b"/>
              <a:pathLst>
                <a:path w="1262379" h="1475739">
                  <a:moveTo>
                    <a:pt x="48103" y="0"/>
                  </a:moveTo>
                  <a:lnTo>
                    <a:pt x="0" y="40742"/>
                  </a:lnTo>
                  <a:lnTo>
                    <a:pt x="1213942" y="1475232"/>
                  </a:lnTo>
                  <a:lnTo>
                    <a:pt x="1261982" y="1434521"/>
                  </a:lnTo>
                  <a:lnTo>
                    <a:pt x="985875" y="815556"/>
                  </a:lnTo>
                  <a:lnTo>
                    <a:pt x="48103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object 98">
              <a:extLst>
                <a:ext uri="{FF2B5EF4-FFF2-40B4-BE49-F238E27FC236}">
                  <a16:creationId xmlns:a16="http://schemas.microsoft.com/office/drawing/2014/main" id="{C75913C6-949B-44C2-B6EA-F71FFAA63BC7}"/>
                </a:ext>
              </a:extLst>
            </p:cNvPr>
            <p:cNvSpPr/>
            <p:nvPr/>
          </p:nvSpPr>
          <p:spPr>
            <a:xfrm>
              <a:off x="2788133" y="3863225"/>
              <a:ext cx="1262380" cy="1475740"/>
            </a:xfrm>
            <a:custGeom>
              <a:avLst/>
              <a:gdLst/>
              <a:ahLst/>
              <a:cxnLst/>
              <a:rect l="l" t="t" r="r" b="b"/>
              <a:pathLst>
                <a:path w="1262379" h="1475739">
                  <a:moveTo>
                    <a:pt x="48103" y="0"/>
                  </a:moveTo>
                  <a:lnTo>
                    <a:pt x="0" y="40742"/>
                  </a:lnTo>
                  <a:lnTo>
                    <a:pt x="1213942" y="1475222"/>
                  </a:lnTo>
                  <a:lnTo>
                    <a:pt x="1261982" y="1434521"/>
                  </a:lnTo>
                  <a:lnTo>
                    <a:pt x="48103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63" name="object 99">
              <a:extLst>
                <a:ext uri="{FF2B5EF4-FFF2-40B4-BE49-F238E27FC236}">
                  <a16:creationId xmlns:a16="http://schemas.microsoft.com/office/drawing/2014/main" id="{5A21AD99-0E0F-4965-BC88-F2B0F5FD371D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2788119" y="3863219"/>
              <a:ext cx="247930" cy="240416"/>
            </a:xfrm>
            <a:prstGeom prst="rect">
              <a:avLst/>
            </a:prstGeom>
          </p:spPr>
        </p:pic>
        <p:sp>
          <p:nvSpPr>
            <p:cNvPr id="64" name="object 100">
              <a:extLst>
                <a:ext uri="{FF2B5EF4-FFF2-40B4-BE49-F238E27FC236}">
                  <a16:creationId xmlns:a16="http://schemas.microsoft.com/office/drawing/2014/main" id="{CC2FA9A0-9D44-4DA0-B6D4-5B21BD8B1046}"/>
                </a:ext>
              </a:extLst>
            </p:cNvPr>
            <p:cNvSpPr/>
            <p:nvPr/>
          </p:nvSpPr>
          <p:spPr>
            <a:xfrm>
              <a:off x="4026619" y="4935980"/>
              <a:ext cx="1861185" cy="466725"/>
            </a:xfrm>
            <a:custGeom>
              <a:avLst/>
              <a:gdLst/>
              <a:ahLst/>
              <a:cxnLst/>
              <a:rect l="l" t="t" r="r" b="b"/>
              <a:pathLst>
                <a:path w="1861185" h="466725">
                  <a:moveTo>
                    <a:pt x="1849367" y="0"/>
                  </a:moveTo>
                  <a:lnTo>
                    <a:pt x="0" y="334010"/>
                  </a:lnTo>
                  <a:lnTo>
                    <a:pt x="11266" y="395977"/>
                  </a:lnTo>
                  <a:lnTo>
                    <a:pt x="685371" y="466331"/>
                  </a:lnTo>
                  <a:lnTo>
                    <a:pt x="1860571" y="62039"/>
                  </a:lnTo>
                  <a:lnTo>
                    <a:pt x="1849367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5" name="object 101">
              <a:extLst>
                <a:ext uri="{FF2B5EF4-FFF2-40B4-BE49-F238E27FC236}">
                  <a16:creationId xmlns:a16="http://schemas.microsoft.com/office/drawing/2014/main" id="{0BF72773-499A-4DD9-8A8B-0A4071B13F1D}"/>
                </a:ext>
              </a:extLst>
            </p:cNvPr>
            <p:cNvSpPr/>
            <p:nvPr/>
          </p:nvSpPr>
          <p:spPr>
            <a:xfrm>
              <a:off x="4026623" y="4935986"/>
              <a:ext cx="1861185" cy="396240"/>
            </a:xfrm>
            <a:custGeom>
              <a:avLst/>
              <a:gdLst/>
              <a:ahLst/>
              <a:cxnLst/>
              <a:rect l="l" t="t" r="r" b="b"/>
              <a:pathLst>
                <a:path w="1861185" h="396239">
                  <a:moveTo>
                    <a:pt x="1849367" y="0"/>
                  </a:moveTo>
                  <a:lnTo>
                    <a:pt x="0" y="334010"/>
                  </a:lnTo>
                  <a:lnTo>
                    <a:pt x="11266" y="395967"/>
                  </a:lnTo>
                  <a:lnTo>
                    <a:pt x="1860561" y="62039"/>
                  </a:lnTo>
                  <a:lnTo>
                    <a:pt x="1849367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object 102">
              <a:extLst>
                <a:ext uri="{FF2B5EF4-FFF2-40B4-BE49-F238E27FC236}">
                  <a16:creationId xmlns:a16="http://schemas.microsoft.com/office/drawing/2014/main" id="{2807DA85-3C7F-4C6A-9936-4F18DB5CCE33}"/>
                </a:ext>
              </a:extLst>
            </p:cNvPr>
            <p:cNvSpPr/>
            <p:nvPr/>
          </p:nvSpPr>
          <p:spPr>
            <a:xfrm>
              <a:off x="5618416" y="4935988"/>
              <a:ext cx="269240" cy="148590"/>
            </a:xfrm>
            <a:custGeom>
              <a:avLst/>
              <a:gdLst/>
              <a:ahLst/>
              <a:cxnLst/>
              <a:rect l="l" t="t" r="r" b="b"/>
              <a:pathLst>
                <a:path w="269239" h="148589">
                  <a:moveTo>
                    <a:pt x="102984" y="118960"/>
                  </a:moveTo>
                  <a:lnTo>
                    <a:pt x="87261" y="30784"/>
                  </a:lnTo>
                  <a:lnTo>
                    <a:pt x="0" y="46520"/>
                  </a:lnTo>
                  <a:lnTo>
                    <a:pt x="18300" y="148158"/>
                  </a:lnTo>
                  <a:lnTo>
                    <a:pt x="102984" y="118960"/>
                  </a:lnTo>
                  <a:close/>
                </a:path>
                <a:path w="269239" h="148589">
                  <a:moveTo>
                    <a:pt x="268757" y="62039"/>
                  </a:moveTo>
                  <a:lnTo>
                    <a:pt x="257581" y="0"/>
                  </a:lnTo>
                  <a:lnTo>
                    <a:pt x="170294" y="15684"/>
                  </a:lnTo>
                  <a:lnTo>
                    <a:pt x="183921" y="91211"/>
                  </a:lnTo>
                  <a:lnTo>
                    <a:pt x="268757" y="62039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7" name="object 103">
              <a:extLst>
                <a:ext uri="{FF2B5EF4-FFF2-40B4-BE49-F238E27FC236}">
                  <a16:creationId xmlns:a16="http://schemas.microsoft.com/office/drawing/2014/main" id="{06C90012-E767-40C2-960F-D751B2575866}"/>
                </a:ext>
              </a:extLst>
            </p:cNvPr>
            <p:cNvSpPr/>
            <p:nvPr/>
          </p:nvSpPr>
          <p:spPr>
            <a:xfrm>
              <a:off x="3378888" y="5304242"/>
              <a:ext cx="695325" cy="1790064"/>
            </a:xfrm>
            <a:custGeom>
              <a:avLst/>
              <a:gdLst/>
              <a:ahLst/>
              <a:cxnLst/>
              <a:rect l="l" t="t" r="r" b="b"/>
              <a:pathLst>
                <a:path w="695325" h="1790065">
                  <a:moveTo>
                    <a:pt x="635498" y="0"/>
                  </a:moveTo>
                  <a:lnTo>
                    <a:pt x="237448" y="548684"/>
                  </a:lnTo>
                  <a:lnTo>
                    <a:pt x="0" y="1768532"/>
                  </a:lnTo>
                  <a:lnTo>
                    <a:pt x="59275" y="1789882"/>
                  </a:lnTo>
                  <a:lnTo>
                    <a:pt x="694764" y="21255"/>
                  </a:lnTo>
                  <a:lnTo>
                    <a:pt x="635498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object 104">
              <a:extLst>
                <a:ext uri="{FF2B5EF4-FFF2-40B4-BE49-F238E27FC236}">
                  <a16:creationId xmlns:a16="http://schemas.microsoft.com/office/drawing/2014/main" id="{F170D86B-9AAD-4169-89F0-284B5AAAEF45}"/>
                </a:ext>
              </a:extLst>
            </p:cNvPr>
            <p:cNvSpPr/>
            <p:nvPr/>
          </p:nvSpPr>
          <p:spPr>
            <a:xfrm>
              <a:off x="3378887" y="5304240"/>
              <a:ext cx="695325" cy="1790064"/>
            </a:xfrm>
            <a:custGeom>
              <a:avLst/>
              <a:gdLst/>
              <a:ahLst/>
              <a:cxnLst/>
              <a:rect l="l" t="t" r="r" b="b"/>
              <a:pathLst>
                <a:path w="695325" h="1790065">
                  <a:moveTo>
                    <a:pt x="635498" y="0"/>
                  </a:moveTo>
                  <a:lnTo>
                    <a:pt x="0" y="1768532"/>
                  </a:lnTo>
                  <a:lnTo>
                    <a:pt x="59244" y="1789882"/>
                  </a:lnTo>
                  <a:lnTo>
                    <a:pt x="694753" y="21276"/>
                  </a:lnTo>
                  <a:lnTo>
                    <a:pt x="635498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9" name="object 105">
              <a:extLst>
                <a:ext uri="{FF2B5EF4-FFF2-40B4-BE49-F238E27FC236}">
                  <a16:creationId xmlns:a16="http://schemas.microsoft.com/office/drawing/2014/main" id="{D213AD6B-4C7C-4E8E-BBCB-639186E16FD8}"/>
                </a:ext>
              </a:extLst>
            </p:cNvPr>
            <p:cNvSpPr/>
            <p:nvPr/>
          </p:nvSpPr>
          <p:spPr>
            <a:xfrm>
              <a:off x="3378873" y="6812870"/>
              <a:ext cx="147955" cy="281305"/>
            </a:xfrm>
            <a:custGeom>
              <a:avLst/>
              <a:gdLst/>
              <a:ahLst/>
              <a:cxnLst/>
              <a:rect l="l" t="t" r="r" b="b"/>
              <a:pathLst>
                <a:path w="147954" h="281304">
                  <a:moveTo>
                    <a:pt x="89408" y="197764"/>
                  </a:moveTo>
                  <a:lnTo>
                    <a:pt x="17119" y="171932"/>
                  </a:lnTo>
                  <a:lnTo>
                    <a:pt x="0" y="259905"/>
                  </a:lnTo>
                  <a:lnTo>
                    <a:pt x="59270" y="281254"/>
                  </a:lnTo>
                  <a:lnTo>
                    <a:pt x="89408" y="197764"/>
                  </a:lnTo>
                  <a:close/>
                </a:path>
                <a:path w="147954" h="281304">
                  <a:moveTo>
                    <a:pt x="147751" y="34747"/>
                  </a:moveTo>
                  <a:lnTo>
                    <a:pt x="50546" y="0"/>
                  </a:lnTo>
                  <a:lnTo>
                    <a:pt x="33540" y="88023"/>
                  </a:lnTo>
                  <a:lnTo>
                    <a:pt x="117779" y="118325"/>
                  </a:lnTo>
                  <a:lnTo>
                    <a:pt x="147751" y="34747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70" name="object 106">
              <a:extLst>
                <a:ext uri="{FF2B5EF4-FFF2-40B4-BE49-F238E27FC236}">
                  <a16:creationId xmlns:a16="http://schemas.microsoft.com/office/drawing/2014/main" id="{0FAEF3BF-9389-4E7A-8D56-8B8024387CBB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3862136" y="5218483"/>
              <a:ext cx="189028" cy="205763"/>
            </a:xfrm>
            <a:prstGeom prst="rect">
              <a:avLst/>
            </a:prstGeom>
          </p:spPr>
        </p:pic>
        <p:sp>
          <p:nvSpPr>
            <p:cNvPr id="71" name="object 107">
              <a:extLst>
                <a:ext uri="{FF2B5EF4-FFF2-40B4-BE49-F238E27FC236}">
                  <a16:creationId xmlns:a16="http://schemas.microsoft.com/office/drawing/2014/main" id="{8742244D-28E9-4EFB-A371-EA4B0BEEC62B}"/>
                </a:ext>
              </a:extLst>
            </p:cNvPr>
            <p:cNvSpPr/>
            <p:nvPr/>
          </p:nvSpPr>
          <p:spPr>
            <a:xfrm>
              <a:off x="3993876" y="5486694"/>
              <a:ext cx="534035" cy="3954779"/>
            </a:xfrm>
            <a:custGeom>
              <a:avLst/>
              <a:gdLst/>
              <a:ahLst/>
              <a:cxnLst/>
              <a:rect l="l" t="t" r="r" b="b"/>
              <a:pathLst>
                <a:path w="534035" h="3954779">
                  <a:moveTo>
                    <a:pt x="287055" y="0"/>
                  </a:moveTo>
                  <a:lnTo>
                    <a:pt x="222087" y="5523"/>
                  </a:lnTo>
                  <a:lnTo>
                    <a:pt x="174198" y="23419"/>
                  </a:lnTo>
                  <a:lnTo>
                    <a:pt x="140824" y="51901"/>
                  </a:lnTo>
                  <a:lnTo>
                    <a:pt x="120677" y="85531"/>
                  </a:lnTo>
                  <a:lnTo>
                    <a:pt x="112467" y="118870"/>
                  </a:lnTo>
                  <a:lnTo>
                    <a:pt x="111881" y="118870"/>
                  </a:lnTo>
                  <a:lnTo>
                    <a:pt x="0" y="3954743"/>
                  </a:lnTo>
                  <a:lnTo>
                    <a:pt x="533470" y="3954743"/>
                  </a:lnTo>
                  <a:lnTo>
                    <a:pt x="421536" y="118870"/>
                  </a:lnTo>
                  <a:lnTo>
                    <a:pt x="421034" y="118870"/>
                  </a:lnTo>
                  <a:lnTo>
                    <a:pt x="419796" y="94129"/>
                  </a:lnTo>
                  <a:lnTo>
                    <a:pt x="411258" y="69313"/>
                  </a:lnTo>
                  <a:lnTo>
                    <a:pt x="394307" y="46250"/>
                  </a:lnTo>
                  <a:lnTo>
                    <a:pt x="367831" y="26768"/>
                  </a:lnTo>
                  <a:lnTo>
                    <a:pt x="323963" y="7643"/>
                  </a:lnTo>
                  <a:lnTo>
                    <a:pt x="287055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2" name="object 108">
              <a:extLst>
                <a:ext uri="{FF2B5EF4-FFF2-40B4-BE49-F238E27FC236}">
                  <a16:creationId xmlns:a16="http://schemas.microsoft.com/office/drawing/2014/main" id="{9AAB0CC8-E250-4AF8-9195-BEE12308C244}"/>
                </a:ext>
              </a:extLst>
            </p:cNvPr>
            <p:cNvSpPr/>
            <p:nvPr/>
          </p:nvSpPr>
          <p:spPr>
            <a:xfrm>
              <a:off x="4101483" y="5447903"/>
              <a:ext cx="318135" cy="301625"/>
            </a:xfrm>
            <a:custGeom>
              <a:avLst/>
              <a:gdLst/>
              <a:ahLst/>
              <a:cxnLst/>
              <a:rect l="l" t="t" r="r" b="b"/>
              <a:pathLst>
                <a:path w="318135" h="301625">
                  <a:moveTo>
                    <a:pt x="1026" y="264507"/>
                  </a:moveTo>
                  <a:lnTo>
                    <a:pt x="628" y="266986"/>
                  </a:lnTo>
                  <a:lnTo>
                    <a:pt x="0" y="301121"/>
                  </a:lnTo>
                  <a:lnTo>
                    <a:pt x="1026" y="264507"/>
                  </a:lnTo>
                  <a:close/>
                </a:path>
                <a:path w="318135" h="301625">
                  <a:moveTo>
                    <a:pt x="316984" y="265560"/>
                  </a:moveTo>
                  <a:lnTo>
                    <a:pt x="317843" y="301121"/>
                  </a:lnTo>
                  <a:lnTo>
                    <a:pt x="317212" y="266986"/>
                  </a:lnTo>
                  <a:lnTo>
                    <a:pt x="316984" y="265560"/>
                  </a:lnTo>
                  <a:close/>
                </a:path>
                <a:path w="318135" h="301625">
                  <a:moveTo>
                    <a:pt x="314738" y="172675"/>
                  </a:moveTo>
                  <a:lnTo>
                    <a:pt x="158937" y="172675"/>
                  </a:lnTo>
                  <a:lnTo>
                    <a:pt x="226407" y="177265"/>
                  </a:lnTo>
                  <a:lnTo>
                    <a:pt x="271430" y="190218"/>
                  </a:lnTo>
                  <a:lnTo>
                    <a:pt x="298545" y="210307"/>
                  </a:lnTo>
                  <a:lnTo>
                    <a:pt x="312293" y="236305"/>
                  </a:lnTo>
                  <a:lnTo>
                    <a:pt x="316984" y="265560"/>
                  </a:lnTo>
                  <a:lnTo>
                    <a:pt x="314738" y="172675"/>
                  </a:lnTo>
                  <a:close/>
                </a:path>
                <a:path w="318135" h="301625">
                  <a:moveTo>
                    <a:pt x="159701" y="0"/>
                  </a:moveTo>
                  <a:lnTo>
                    <a:pt x="93514" y="4443"/>
                  </a:lnTo>
                  <a:lnTo>
                    <a:pt x="49533" y="16983"/>
                  </a:lnTo>
                  <a:lnTo>
                    <a:pt x="10048" y="61607"/>
                  </a:lnTo>
                  <a:lnTo>
                    <a:pt x="4952" y="124383"/>
                  </a:lnTo>
                  <a:lnTo>
                    <a:pt x="1026" y="264507"/>
                  </a:lnTo>
                  <a:lnTo>
                    <a:pt x="19289" y="210307"/>
                  </a:lnTo>
                  <a:lnTo>
                    <a:pt x="91443" y="177265"/>
                  </a:lnTo>
                  <a:lnTo>
                    <a:pt x="158937" y="172675"/>
                  </a:lnTo>
                  <a:lnTo>
                    <a:pt x="314738" y="172675"/>
                  </a:lnTo>
                  <a:lnTo>
                    <a:pt x="313571" y="124383"/>
                  </a:lnTo>
                  <a:lnTo>
                    <a:pt x="308698" y="61607"/>
                  </a:lnTo>
                  <a:lnTo>
                    <a:pt x="269632" y="16983"/>
                  </a:lnTo>
                  <a:lnTo>
                    <a:pt x="225817" y="4443"/>
                  </a:lnTo>
                  <a:lnTo>
                    <a:pt x="159701" y="0"/>
                  </a:lnTo>
                  <a:close/>
                </a:path>
              </a:pathLst>
            </a:custGeom>
            <a:solidFill>
              <a:srgbClr val="ABB1B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3" name="object 109">
              <a:extLst>
                <a:ext uri="{FF2B5EF4-FFF2-40B4-BE49-F238E27FC236}">
                  <a16:creationId xmlns:a16="http://schemas.microsoft.com/office/drawing/2014/main" id="{02447AC3-C370-4C1C-B90C-5AAB1E344234}"/>
                </a:ext>
              </a:extLst>
            </p:cNvPr>
            <p:cNvSpPr/>
            <p:nvPr/>
          </p:nvSpPr>
          <p:spPr>
            <a:xfrm>
              <a:off x="4283756" y="5486113"/>
              <a:ext cx="161290" cy="3955415"/>
            </a:xfrm>
            <a:custGeom>
              <a:avLst/>
              <a:gdLst/>
              <a:ahLst/>
              <a:cxnLst/>
              <a:rect l="l" t="t" r="r" b="b"/>
              <a:pathLst>
                <a:path w="161289" h="3955415">
                  <a:moveTo>
                    <a:pt x="51401" y="0"/>
                  </a:moveTo>
                  <a:lnTo>
                    <a:pt x="10188" y="36077"/>
                  </a:lnTo>
                  <a:lnTo>
                    <a:pt x="5272" y="75237"/>
                  </a:lnTo>
                  <a:lnTo>
                    <a:pt x="4659" y="123200"/>
                  </a:lnTo>
                  <a:lnTo>
                    <a:pt x="0" y="3955324"/>
                  </a:lnTo>
                  <a:lnTo>
                    <a:pt x="161188" y="3955324"/>
                  </a:lnTo>
                  <a:lnTo>
                    <a:pt x="97892" y="123200"/>
                  </a:lnTo>
                  <a:lnTo>
                    <a:pt x="97327" y="75237"/>
                  </a:lnTo>
                  <a:lnTo>
                    <a:pt x="92512" y="36077"/>
                  </a:lnTo>
                  <a:lnTo>
                    <a:pt x="78764" y="9679"/>
                  </a:lnTo>
                  <a:lnTo>
                    <a:pt x="51401" y="0"/>
                  </a:lnTo>
                  <a:close/>
                </a:path>
              </a:pathLst>
            </a:custGeom>
            <a:solidFill>
              <a:srgbClr val="000000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object 110">
              <a:extLst>
                <a:ext uri="{FF2B5EF4-FFF2-40B4-BE49-F238E27FC236}">
                  <a16:creationId xmlns:a16="http://schemas.microsoft.com/office/drawing/2014/main" id="{8AAAF7C3-C206-4DEA-8FC4-DE27CD6565E2}"/>
                </a:ext>
              </a:extLst>
            </p:cNvPr>
            <p:cNvSpPr/>
            <p:nvPr/>
          </p:nvSpPr>
          <p:spPr>
            <a:xfrm>
              <a:off x="4066615" y="5507484"/>
              <a:ext cx="110489" cy="3934460"/>
            </a:xfrm>
            <a:custGeom>
              <a:avLst/>
              <a:gdLst/>
              <a:ahLst/>
              <a:cxnLst/>
              <a:rect l="l" t="t" r="r" b="b"/>
              <a:pathLst>
                <a:path w="110489" h="3934459">
                  <a:moveTo>
                    <a:pt x="85882" y="0"/>
                  </a:moveTo>
                  <a:lnTo>
                    <a:pt x="71836" y="9630"/>
                  </a:lnTo>
                  <a:lnTo>
                    <a:pt x="64783" y="35898"/>
                  </a:lnTo>
                  <a:lnTo>
                    <a:pt x="62316" y="74870"/>
                  </a:lnTo>
                  <a:lnTo>
                    <a:pt x="62029" y="122614"/>
                  </a:lnTo>
                  <a:lnTo>
                    <a:pt x="0" y="3933953"/>
                  </a:lnTo>
                  <a:lnTo>
                    <a:pt x="82897" y="3933953"/>
                  </a:lnTo>
                  <a:lnTo>
                    <a:pt x="110017" y="122614"/>
                  </a:lnTo>
                  <a:lnTo>
                    <a:pt x="109708" y="74870"/>
                  </a:lnTo>
                  <a:lnTo>
                    <a:pt x="107181" y="35898"/>
                  </a:lnTo>
                  <a:lnTo>
                    <a:pt x="100038" y="9630"/>
                  </a:lnTo>
                  <a:lnTo>
                    <a:pt x="85882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object 111">
              <a:extLst>
                <a:ext uri="{FF2B5EF4-FFF2-40B4-BE49-F238E27FC236}">
                  <a16:creationId xmlns:a16="http://schemas.microsoft.com/office/drawing/2014/main" id="{EF7EE74B-2EFE-42AB-8A34-B004CACD4442}"/>
                </a:ext>
              </a:extLst>
            </p:cNvPr>
            <p:cNvSpPr/>
            <p:nvPr/>
          </p:nvSpPr>
          <p:spPr>
            <a:xfrm>
              <a:off x="3842877" y="9257665"/>
              <a:ext cx="828675" cy="184150"/>
            </a:xfrm>
            <a:custGeom>
              <a:avLst/>
              <a:gdLst/>
              <a:ahLst/>
              <a:cxnLst/>
              <a:rect l="l" t="t" r="r" b="b"/>
              <a:pathLst>
                <a:path w="828675" h="184150">
                  <a:moveTo>
                    <a:pt x="828676" y="0"/>
                  </a:moveTo>
                  <a:lnTo>
                    <a:pt x="0" y="0"/>
                  </a:lnTo>
                  <a:lnTo>
                    <a:pt x="0" y="183774"/>
                  </a:lnTo>
                  <a:lnTo>
                    <a:pt x="828676" y="183774"/>
                  </a:lnTo>
                  <a:lnTo>
                    <a:pt x="828676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object 112">
              <a:extLst>
                <a:ext uri="{FF2B5EF4-FFF2-40B4-BE49-F238E27FC236}">
                  <a16:creationId xmlns:a16="http://schemas.microsoft.com/office/drawing/2014/main" id="{5269AEAB-F89F-4375-A44A-265E8747A750}"/>
                </a:ext>
              </a:extLst>
            </p:cNvPr>
            <p:cNvSpPr/>
            <p:nvPr/>
          </p:nvSpPr>
          <p:spPr>
            <a:xfrm>
              <a:off x="3950529" y="9257665"/>
              <a:ext cx="127000" cy="184150"/>
            </a:xfrm>
            <a:custGeom>
              <a:avLst/>
              <a:gdLst/>
              <a:ahLst/>
              <a:cxnLst/>
              <a:rect l="l" t="t" r="r" b="b"/>
              <a:pathLst>
                <a:path w="127000" h="184150">
                  <a:moveTo>
                    <a:pt x="126781" y="0"/>
                  </a:moveTo>
                  <a:lnTo>
                    <a:pt x="0" y="0"/>
                  </a:lnTo>
                  <a:lnTo>
                    <a:pt x="0" y="183774"/>
                  </a:lnTo>
                  <a:lnTo>
                    <a:pt x="126781" y="183774"/>
                  </a:lnTo>
                  <a:lnTo>
                    <a:pt x="126781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7" name="object 113">
              <a:extLst>
                <a:ext uri="{FF2B5EF4-FFF2-40B4-BE49-F238E27FC236}">
                  <a16:creationId xmlns:a16="http://schemas.microsoft.com/office/drawing/2014/main" id="{4F370B0C-3D97-4EFB-8F86-644045A0F84C}"/>
                </a:ext>
              </a:extLst>
            </p:cNvPr>
            <p:cNvSpPr/>
            <p:nvPr/>
          </p:nvSpPr>
          <p:spPr>
            <a:xfrm>
              <a:off x="4367322" y="9257665"/>
              <a:ext cx="194945" cy="184150"/>
            </a:xfrm>
            <a:custGeom>
              <a:avLst/>
              <a:gdLst/>
              <a:ahLst/>
              <a:cxnLst/>
              <a:rect l="l" t="t" r="r" b="b"/>
              <a:pathLst>
                <a:path w="194945" h="184150">
                  <a:moveTo>
                    <a:pt x="194611" y="0"/>
                  </a:moveTo>
                  <a:lnTo>
                    <a:pt x="0" y="0"/>
                  </a:lnTo>
                  <a:lnTo>
                    <a:pt x="0" y="183774"/>
                  </a:lnTo>
                  <a:lnTo>
                    <a:pt x="194611" y="183774"/>
                  </a:lnTo>
                  <a:lnTo>
                    <a:pt x="194611" y="0"/>
                  </a:lnTo>
                  <a:close/>
                </a:path>
              </a:pathLst>
            </a:custGeom>
            <a:solidFill>
              <a:srgbClr val="000000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object 114">
              <a:extLst>
                <a:ext uri="{FF2B5EF4-FFF2-40B4-BE49-F238E27FC236}">
                  <a16:creationId xmlns:a16="http://schemas.microsoft.com/office/drawing/2014/main" id="{AD97004F-5550-4690-B63B-65C292DC1CDE}"/>
                </a:ext>
              </a:extLst>
            </p:cNvPr>
            <p:cNvSpPr/>
            <p:nvPr/>
          </p:nvSpPr>
          <p:spPr>
            <a:xfrm>
              <a:off x="1362568" y="7994063"/>
              <a:ext cx="220979" cy="137160"/>
            </a:xfrm>
            <a:custGeom>
              <a:avLst/>
              <a:gdLst/>
              <a:ahLst/>
              <a:cxnLst/>
              <a:rect l="l" t="t" r="r" b="b"/>
              <a:pathLst>
                <a:path w="220980" h="137159">
                  <a:moveTo>
                    <a:pt x="22816" y="0"/>
                  </a:moveTo>
                  <a:lnTo>
                    <a:pt x="9625" y="10370"/>
                  </a:lnTo>
                  <a:lnTo>
                    <a:pt x="2852" y="17469"/>
                  </a:lnTo>
                  <a:lnTo>
                    <a:pt x="356" y="24574"/>
                  </a:lnTo>
                  <a:lnTo>
                    <a:pt x="0" y="34962"/>
                  </a:lnTo>
                  <a:lnTo>
                    <a:pt x="1366" y="51235"/>
                  </a:lnTo>
                  <a:lnTo>
                    <a:pt x="4371" y="69966"/>
                  </a:lnTo>
                  <a:lnTo>
                    <a:pt x="8743" y="91840"/>
                  </a:lnTo>
                  <a:lnTo>
                    <a:pt x="57851" y="102771"/>
                  </a:lnTo>
                  <a:lnTo>
                    <a:pt x="169209" y="136969"/>
                  </a:lnTo>
                  <a:lnTo>
                    <a:pt x="209554" y="121173"/>
                  </a:lnTo>
                  <a:lnTo>
                    <a:pt x="220914" y="82165"/>
                  </a:lnTo>
                  <a:lnTo>
                    <a:pt x="217738" y="63287"/>
                  </a:lnTo>
                  <a:lnTo>
                    <a:pt x="208627" y="50710"/>
                  </a:lnTo>
                  <a:lnTo>
                    <a:pt x="199107" y="43701"/>
                  </a:lnTo>
                  <a:lnTo>
                    <a:pt x="194706" y="41527"/>
                  </a:lnTo>
                  <a:lnTo>
                    <a:pt x="22816" y="0"/>
                  </a:lnTo>
                  <a:close/>
                </a:path>
              </a:pathLst>
            </a:custGeom>
            <a:solidFill>
              <a:srgbClr val="8E99A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object 115">
              <a:extLst>
                <a:ext uri="{FF2B5EF4-FFF2-40B4-BE49-F238E27FC236}">
                  <a16:creationId xmlns:a16="http://schemas.microsoft.com/office/drawing/2014/main" id="{9B17B1E4-0E04-450F-8F09-D51F44E1D373}"/>
                </a:ext>
              </a:extLst>
            </p:cNvPr>
            <p:cNvSpPr/>
            <p:nvPr/>
          </p:nvSpPr>
          <p:spPr>
            <a:xfrm>
              <a:off x="1362565" y="7994056"/>
              <a:ext cx="220979" cy="82550"/>
            </a:xfrm>
            <a:custGeom>
              <a:avLst/>
              <a:gdLst/>
              <a:ahLst/>
              <a:cxnLst/>
              <a:rect l="l" t="t" r="r" b="b"/>
              <a:pathLst>
                <a:path w="220980" h="82550">
                  <a:moveTo>
                    <a:pt x="22816" y="0"/>
                  </a:moveTo>
                  <a:lnTo>
                    <a:pt x="9625" y="10376"/>
                  </a:lnTo>
                  <a:lnTo>
                    <a:pt x="2852" y="17478"/>
                  </a:lnTo>
                  <a:lnTo>
                    <a:pt x="356" y="24584"/>
                  </a:lnTo>
                  <a:lnTo>
                    <a:pt x="0" y="34972"/>
                  </a:lnTo>
                  <a:lnTo>
                    <a:pt x="47509" y="45917"/>
                  </a:lnTo>
                  <a:lnTo>
                    <a:pt x="104367" y="55613"/>
                  </a:lnTo>
                  <a:lnTo>
                    <a:pt x="164270" y="66789"/>
                  </a:lnTo>
                  <a:lnTo>
                    <a:pt x="220914" y="82175"/>
                  </a:lnTo>
                  <a:lnTo>
                    <a:pt x="217736" y="63298"/>
                  </a:lnTo>
                  <a:lnTo>
                    <a:pt x="208621" y="50720"/>
                  </a:lnTo>
                  <a:lnTo>
                    <a:pt x="199098" y="43711"/>
                  </a:lnTo>
                  <a:lnTo>
                    <a:pt x="194695" y="41538"/>
                  </a:lnTo>
                  <a:lnTo>
                    <a:pt x="22816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0" name="object 116">
              <a:extLst>
                <a:ext uri="{FF2B5EF4-FFF2-40B4-BE49-F238E27FC236}">
                  <a16:creationId xmlns:a16="http://schemas.microsoft.com/office/drawing/2014/main" id="{B3C45CEB-A82C-4368-AE5B-E00454F8C50E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348101" y="8000918"/>
              <a:ext cx="42541" cy="79610"/>
            </a:xfrm>
            <a:prstGeom prst="rect">
              <a:avLst/>
            </a:prstGeom>
          </p:spPr>
        </p:pic>
        <p:sp>
          <p:nvSpPr>
            <p:cNvPr id="81" name="object 117">
              <a:extLst>
                <a:ext uri="{FF2B5EF4-FFF2-40B4-BE49-F238E27FC236}">
                  <a16:creationId xmlns:a16="http://schemas.microsoft.com/office/drawing/2014/main" id="{9D42B41C-1DEB-447B-BAB7-BBAF0DDB62E5}"/>
                </a:ext>
              </a:extLst>
            </p:cNvPr>
            <p:cNvSpPr/>
            <p:nvPr/>
          </p:nvSpPr>
          <p:spPr>
            <a:xfrm>
              <a:off x="1362568" y="8029025"/>
              <a:ext cx="197485" cy="102235"/>
            </a:xfrm>
            <a:custGeom>
              <a:avLst/>
              <a:gdLst/>
              <a:ahLst/>
              <a:cxnLst/>
              <a:rect l="l" t="t" r="r" b="b"/>
              <a:pathLst>
                <a:path w="197484" h="102234">
                  <a:moveTo>
                    <a:pt x="0" y="0"/>
                  </a:moveTo>
                  <a:lnTo>
                    <a:pt x="1366" y="16273"/>
                  </a:lnTo>
                  <a:lnTo>
                    <a:pt x="4371" y="35004"/>
                  </a:lnTo>
                  <a:lnTo>
                    <a:pt x="8743" y="56877"/>
                  </a:lnTo>
                  <a:lnTo>
                    <a:pt x="57851" y="67809"/>
                  </a:lnTo>
                  <a:lnTo>
                    <a:pt x="169209" y="102007"/>
                  </a:lnTo>
                  <a:lnTo>
                    <a:pt x="196863" y="100101"/>
                  </a:lnTo>
                  <a:lnTo>
                    <a:pt x="184981" y="72722"/>
                  </a:lnTo>
                  <a:lnTo>
                    <a:pt x="160514" y="53168"/>
                  </a:lnTo>
                  <a:lnTo>
                    <a:pt x="105006" y="320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object 118">
              <a:extLst>
                <a:ext uri="{FF2B5EF4-FFF2-40B4-BE49-F238E27FC236}">
                  <a16:creationId xmlns:a16="http://schemas.microsoft.com/office/drawing/2014/main" id="{F15B76E5-7461-49E0-8E44-7CF29E425929}"/>
                </a:ext>
              </a:extLst>
            </p:cNvPr>
            <p:cNvSpPr/>
            <p:nvPr/>
          </p:nvSpPr>
          <p:spPr>
            <a:xfrm>
              <a:off x="973838" y="7496385"/>
              <a:ext cx="379095" cy="544195"/>
            </a:xfrm>
            <a:custGeom>
              <a:avLst/>
              <a:gdLst/>
              <a:ahLst/>
              <a:cxnLst/>
              <a:rect l="l" t="t" r="r" b="b"/>
              <a:pathLst>
                <a:path w="379094" h="544195">
                  <a:moveTo>
                    <a:pt x="17842" y="0"/>
                  </a:moveTo>
                  <a:lnTo>
                    <a:pt x="0" y="12125"/>
                  </a:lnTo>
                  <a:lnTo>
                    <a:pt x="360774" y="543920"/>
                  </a:lnTo>
                  <a:lnTo>
                    <a:pt x="378595" y="531826"/>
                  </a:lnTo>
                  <a:lnTo>
                    <a:pt x="307142" y="311330"/>
                  </a:lnTo>
                  <a:lnTo>
                    <a:pt x="17842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3" name="object 119">
              <a:extLst>
                <a:ext uri="{FF2B5EF4-FFF2-40B4-BE49-F238E27FC236}">
                  <a16:creationId xmlns:a16="http://schemas.microsoft.com/office/drawing/2014/main" id="{FA2E2E99-98A8-46FC-AF29-869CCE922D39}"/>
                </a:ext>
              </a:extLst>
            </p:cNvPr>
            <p:cNvSpPr/>
            <p:nvPr/>
          </p:nvSpPr>
          <p:spPr>
            <a:xfrm>
              <a:off x="973833" y="7496385"/>
              <a:ext cx="379095" cy="544195"/>
            </a:xfrm>
            <a:custGeom>
              <a:avLst/>
              <a:gdLst/>
              <a:ahLst/>
              <a:cxnLst/>
              <a:rect l="l" t="t" r="r" b="b"/>
              <a:pathLst>
                <a:path w="379094" h="544195">
                  <a:moveTo>
                    <a:pt x="17842" y="0"/>
                  </a:moveTo>
                  <a:lnTo>
                    <a:pt x="0" y="12114"/>
                  </a:lnTo>
                  <a:lnTo>
                    <a:pt x="360784" y="543920"/>
                  </a:lnTo>
                  <a:lnTo>
                    <a:pt x="378595" y="531826"/>
                  </a:lnTo>
                  <a:lnTo>
                    <a:pt x="17842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84" name="object 120">
              <a:extLst>
                <a:ext uri="{FF2B5EF4-FFF2-40B4-BE49-F238E27FC236}">
                  <a16:creationId xmlns:a16="http://schemas.microsoft.com/office/drawing/2014/main" id="{20BF084D-0326-4FB1-9219-9D6F16626366}"/>
                </a:ext>
              </a:extLst>
            </p:cNvPr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973844" y="7496386"/>
              <a:ext cx="79476" cy="86150"/>
            </a:xfrm>
            <a:prstGeom prst="rect">
              <a:avLst/>
            </a:prstGeom>
          </p:spPr>
        </p:pic>
        <p:sp>
          <p:nvSpPr>
            <p:cNvPr id="85" name="object 121">
              <a:extLst>
                <a:ext uri="{FF2B5EF4-FFF2-40B4-BE49-F238E27FC236}">
                  <a16:creationId xmlns:a16="http://schemas.microsoft.com/office/drawing/2014/main" id="{6F092AAE-0491-4971-9415-99B599441989}"/>
                </a:ext>
              </a:extLst>
            </p:cNvPr>
            <p:cNvSpPr/>
            <p:nvPr/>
          </p:nvSpPr>
          <p:spPr>
            <a:xfrm>
              <a:off x="1345454" y="7971387"/>
              <a:ext cx="642620" cy="116839"/>
            </a:xfrm>
            <a:custGeom>
              <a:avLst/>
              <a:gdLst/>
              <a:ahLst/>
              <a:cxnLst/>
              <a:rect l="l" t="t" r="r" b="b"/>
              <a:pathLst>
                <a:path w="642619" h="116840">
                  <a:moveTo>
                    <a:pt x="640975" y="0"/>
                  </a:moveTo>
                  <a:lnTo>
                    <a:pt x="0" y="46522"/>
                  </a:lnTo>
                  <a:lnTo>
                    <a:pt x="1581" y="68008"/>
                  </a:lnTo>
                  <a:lnTo>
                    <a:pt x="228254" y="116362"/>
                  </a:lnTo>
                  <a:lnTo>
                    <a:pt x="642535" y="21517"/>
                  </a:lnTo>
                  <a:lnTo>
                    <a:pt x="640975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6" name="object 122">
              <a:extLst>
                <a:ext uri="{FF2B5EF4-FFF2-40B4-BE49-F238E27FC236}">
                  <a16:creationId xmlns:a16="http://schemas.microsoft.com/office/drawing/2014/main" id="{F2CAB3D4-324C-42BB-BDB9-F6EEC006FB31}"/>
                </a:ext>
              </a:extLst>
            </p:cNvPr>
            <p:cNvSpPr/>
            <p:nvPr/>
          </p:nvSpPr>
          <p:spPr>
            <a:xfrm>
              <a:off x="1345457" y="7971392"/>
              <a:ext cx="642620" cy="68580"/>
            </a:xfrm>
            <a:custGeom>
              <a:avLst/>
              <a:gdLst/>
              <a:ahLst/>
              <a:cxnLst/>
              <a:rect l="l" t="t" r="r" b="b"/>
              <a:pathLst>
                <a:path w="642619" h="68579">
                  <a:moveTo>
                    <a:pt x="640975" y="0"/>
                  </a:moveTo>
                  <a:lnTo>
                    <a:pt x="0" y="46522"/>
                  </a:lnTo>
                  <a:lnTo>
                    <a:pt x="1581" y="67997"/>
                  </a:lnTo>
                  <a:lnTo>
                    <a:pt x="642524" y="21517"/>
                  </a:lnTo>
                  <a:lnTo>
                    <a:pt x="640975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7" name="object 123">
              <a:extLst>
                <a:ext uri="{FF2B5EF4-FFF2-40B4-BE49-F238E27FC236}">
                  <a16:creationId xmlns:a16="http://schemas.microsoft.com/office/drawing/2014/main" id="{139BEAD7-8F13-4783-9FFF-6E8819CE42CD}"/>
                </a:ext>
              </a:extLst>
            </p:cNvPr>
            <p:cNvSpPr/>
            <p:nvPr/>
          </p:nvSpPr>
          <p:spPr>
            <a:xfrm>
              <a:off x="1897151" y="7971402"/>
              <a:ext cx="91440" cy="41910"/>
            </a:xfrm>
            <a:custGeom>
              <a:avLst/>
              <a:gdLst/>
              <a:ahLst/>
              <a:cxnLst/>
              <a:rect l="l" t="t" r="r" b="b"/>
              <a:pathLst>
                <a:path w="91439" h="41909">
                  <a:moveTo>
                    <a:pt x="32397" y="34848"/>
                  </a:moveTo>
                  <a:lnTo>
                    <a:pt x="30238" y="4292"/>
                  </a:lnTo>
                  <a:lnTo>
                    <a:pt x="0" y="6477"/>
                  </a:lnTo>
                  <a:lnTo>
                    <a:pt x="2540" y="41706"/>
                  </a:lnTo>
                  <a:lnTo>
                    <a:pt x="32397" y="34848"/>
                  </a:lnTo>
                  <a:close/>
                </a:path>
                <a:path w="91439" h="41909">
                  <a:moveTo>
                    <a:pt x="90830" y="21501"/>
                  </a:moveTo>
                  <a:lnTo>
                    <a:pt x="89268" y="0"/>
                  </a:lnTo>
                  <a:lnTo>
                    <a:pt x="59029" y="2171"/>
                  </a:lnTo>
                  <a:lnTo>
                    <a:pt x="60921" y="28346"/>
                  </a:lnTo>
                  <a:lnTo>
                    <a:pt x="90830" y="21501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8" name="object 124">
              <a:extLst>
                <a:ext uri="{FF2B5EF4-FFF2-40B4-BE49-F238E27FC236}">
                  <a16:creationId xmlns:a16="http://schemas.microsoft.com/office/drawing/2014/main" id="{82D4F8A1-92AC-4A85-8A20-6036A9080217}"/>
                </a:ext>
              </a:extLst>
            </p:cNvPr>
            <p:cNvSpPr/>
            <p:nvPr/>
          </p:nvSpPr>
          <p:spPr>
            <a:xfrm>
              <a:off x="1059821" y="8029111"/>
              <a:ext cx="299720" cy="588010"/>
            </a:xfrm>
            <a:custGeom>
              <a:avLst/>
              <a:gdLst/>
              <a:ahLst/>
              <a:cxnLst/>
              <a:rect l="l" t="t" r="r" b="b"/>
              <a:pathLst>
                <a:path w="299719" h="588009">
                  <a:moveTo>
                    <a:pt x="280232" y="0"/>
                  </a:moveTo>
                  <a:lnTo>
                    <a:pt x="124980" y="172151"/>
                  </a:lnTo>
                  <a:lnTo>
                    <a:pt x="0" y="578348"/>
                  </a:lnTo>
                  <a:lnTo>
                    <a:pt x="19381" y="587751"/>
                  </a:lnTo>
                  <a:lnTo>
                    <a:pt x="299613" y="9381"/>
                  </a:lnTo>
                  <a:lnTo>
                    <a:pt x="280232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9" name="object 125">
              <a:extLst>
                <a:ext uri="{FF2B5EF4-FFF2-40B4-BE49-F238E27FC236}">
                  <a16:creationId xmlns:a16="http://schemas.microsoft.com/office/drawing/2014/main" id="{1E7748B9-C814-47A6-A2BE-E3E9F83315D5}"/>
                </a:ext>
              </a:extLst>
            </p:cNvPr>
            <p:cNvSpPr/>
            <p:nvPr/>
          </p:nvSpPr>
          <p:spPr>
            <a:xfrm>
              <a:off x="1059832" y="8029112"/>
              <a:ext cx="299720" cy="588010"/>
            </a:xfrm>
            <a:custGeom>
              <a:avLst/>
              <a:gdLst/>
              <a:ahLst/>
              <a:cxnLst/>
              <a:rect l="l" t="t" r="r" b="b"/>
              <a:pathLst>
                <a:path w="299719" h="588009">
                  <a:moveTo>
                    <a:pt x="280221" y="0"/>
                  </a:moveTo>
                  <a:lnTo>
                    <a:pt x="0" y="578327"/>
                  </a:lnTo>
                  <a:lnTo>
                    <a:pt x="19350" y="587741"/>
                  </a:lnTo>
                  <a:lnTo>
                    <a:pt x="299582" y="9392"/>
                  </a:lnTo>
                  <a:lnTo>
                    <a:pt x="280221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0" name="object 126">
              <a:extLst>
                <a:ext uri="{FF2B5EF4-FFF2-40B4-BE49-F238E27FC236}">
                  <a16:creationId xmlns:a16="http://schemas.microsoft.com/office/drawing/2014/main" id="{F2F0778A-B54C-4E67-98CA-3CF7CC2273D3}"/>
                </a:ext>
              </a:extLst>
            </p:cNvPr>
            <p:cNvSpPr/>
            <p:nvPr/>
          </p:nvSpPr>
          <p:spPr>
            <a:xfrm>
              <a:off x="1059815" y="8520919"/>
              <a:ext cx="58419" cy="96520"/>
            </a:xfrm>
            <a:custGeom>
              <a:avLst/>
              <a:gdLst/>
              <a:ahLst/>
              <a:cxnLst/>
              <a:rect l="l" t="t" r="r" b="b"/>
              <a:pathLst>
                <a:path w="58419" h="96520">
                  <a:moveTo>
                    <a:pt x="32664" y="68668"/>
                  </a:moveTo>
                  <a:lnTo>
                    <a:pt x="9004" y="57238"/>
                  </a:lnTo>
                  <a:lnTo>
                    <a:pt x="0" y="86550"/>
                  </a:lnTo>
                  <a:lnTo>
                    <a:pt x="19380" y="95948"/>
                  </a:lnTo>
                  <a:lnTo>
                    <a:pt x="32664" y="68668"/>
                  </a:lnTo>
                  <a:close/>
                </a:path>
                <a:path w="58419" h="96520">
                  <a:moveTo>
                    <a:pt x="58407" y="15354"/>
                  </a:moveTo>
                  <a:lnTo>
                    <a:pt x="26619" y="0"/>
                  </a:lnTo>
                  <a:lnTo>
                    <a:pt x="17640" y="29311"/>
                  </a:lnTo>
                  <a:lnTo>
                    <a:pt x="45186" y="42659"/>
                  </a:lnTo>
                  <a:lnTo>
                    <a:pt x="58407" y="15354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91" name="object 127">
              <a:extLst>
                <a:ext uri="{FF2B5EF4-FFF2-40B4-BE49-F238E27FC236}">
                  <a16:creationId xmlns:a16="http://schemas.microsoft.com/office/drawing/2014/main" id="{664A188D-1335-4042-9710-70E2AB5AF2B1}"/>
                </a:ext>
              </a:extLst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309166" y="7997296"/>
              <a:ext cx="64639" cy="70364"/>
            </a:xfrm>
            <a:prstGeom prst="rect">
              <a:avLst/>
            </a:prstGeom>
          </p:spPr>
        </p:pic>
        <p:sp>
          <p:nvSpPr>
            <p:cNvPr id="92" name="object 128">
              <a:extLst>
                <a:ext uri="{FF2B5EF4-FFF2-40B4-BE49-F238E27FC236}">
                  <a16:creationId xmlns:a16="http://schemas.microsoft.com/office/drawing/2014/main" id="{EA416788-169A-47B5-867A-C9A403E24EF3}"/>
                </a:ext>
              </a:extLst>
            </p:cNvPr>
            <p:cNvSpPr/>
            <p:nvPr/>
          </p:nvSpPr>
          <p:spPr>
            <a:xfrm>
              <a:off x="1354206" y="8089025"/>
              <a:ext cx="182880" cy="1352550"/>
            </a:xfrm>
            <a:custGeom>
              <a:avLst/>
              <a:gdLst/>
              <a:ahLst/>
              <a:cxnLst/>
              <a:rect l="l" t="t" r="r" b="b"/>
              <a:pathLst>
                <a:path w="182880" h="1352550">
                  <a:moveTo>
                    <a:pt x="98175" y="0"/>
                  </a:moveTo>
                  <a:lnTo>
                    <a:pt x="59580" y="7998"/>
                  </a:lnTo>
                  <a:lnTo>
                    <a:pt x="38480" y="40641"/>
                  </a:lnTo>
                  <a:lnTo>
                    <a:pt x="38281" y="40641"/>
                  </a:lnTo>
                  <a:lnTo>
                    <a:pt x="0" y="1352413"/>
                  </a:lnTo>
                  <a:lnTo>
                    <a:pt x="182444" y="1352413"/>
                  </a:lnTo>
                  <a:lnTo>
                    <a:pt x="144163" y="40641"/>
                  </a:lnTo>
                  <a:lnTo>
                    <a:pt x="143995" y="40641"/>
                  </a:lnTo>
                  <a:lnTo>
                    <a:pt x="143572" y="32183"/>
                  </a:lnTo>
                  <a:lnTo>
                    <a:pt x="140652" y="23700"/>
                  </a:lnTo>
                  <a:lnTo>
                    <a:pt x="134854" y="15817"/>
                  </a:lnTo>
                  <a:lnTo>
                    <a:pt x="125797" y="9155"/>
                  </a:lnTo>
                  <a:lnTo>
                    <a:pt x="110794" y="2615"/>
                  </a:lnTo>
                  <a:lnTo>
                    <a:pt x="98175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93" name="object 129">
              <a:extLst>
                <a:ext uri="{FF2B5EF4-FFF2-40B4-BE49-F238E27FC236}">
                  <a16:creationId xmlns:a16="http://schemas.microsoft.com/office/drawing/2014/main" id="{6AF4AF8C-691A-4E93-AD48-73666E5C4403}"/>
                </a:ext>
              </a:extLst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1391016" y="8075745"/>
              <a:ext cx="108687" cy="102970"/>
            </a:xfrm>
            <a:prstGeom prst="rect">
              <a:avLst/>
            </a:prstGeom>
          </p:spPr>
        </p:pic>
        <p:sp>
          <p:nvSpPr>
            <p:cNvPr id="94" name="object 130">
              <a:extLst>
                <a:ext uri="{FF2B5EF4-FFF2-40B4-BE49-F238E27FC236}">
                  <a16:creationId xmlns:a16="http://schemas.microsoft.com/office/drawing/2014/main" id="{8B323D06-D0C6-4730-8ED8-C6DE70C16F21}"/>
                </a:ext>
              </a:extLst>
            </p:cNvPr>
            <p:cNvSpPr/>
            <p:nvPr/>
          </p:nvSpPr>
          <p:spPr>
            <a:xfrm>
              <a:off x="1453341" y="8088819"/>
              <a:ext cx="55244" cy="1290320"/>
            </a:xfrm>
            <a:custGeom>
              <a:avLst/>
              <a:gdLst/>
              <a:ahLst/>
              <a:cxnLst/>
              <a:rect l="l" t="t" r="r" b="b"/>
              <a:pathLst>
                <a:path w="55244" h="1290320">
                  <a:moveTo>
                    <a:pt x="0" y="1289774"/>
                  </a:moveTo>
                  <a:lnTo>
                    <a:pt x="55129" y="1289774"/>
                  </a:lnTo>
                  <a:lnTo>
                    <a:pt x="55129" y="0"/>
                  </a:lnTo>
                  <a:lnTo>
                    <a:pt x="0" y="0"/>
                  </a:lnTo>
                  <a:lnTo>
                    <a:pt x="0" y="1289774"/>
                  </a:lnTo>
                  <a:close/>
                </a:path>
              </a:pathLst>
            </a:custGeom>
            <a:solidFill>
              <a:srgbClr val="000000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5" name="object 131">
              <a:extLst>
                <a:ext uri="{FF2B5EF4-FFF2-40B4-BE49-F238E27FC236}">
                  <a16:creationId xmlns:a16="http://schemas.microsoft.com/office/drawing/2014/main" id="{B145FE99-10CF-434C-9F38-E2DF4A70C056}"/>
                </a:ext>
              </a:extLst>
            </p:cNvPr>
            <p:cNvSpPr/>
            <p:nvPr/>
          </p:nvSpPr>
          <p:spPr>
            <a:xfrm>
              <a:off x="1379092" y="8096128"/>
              <a:ext cx="38100" cy="1282700"/>
            </a:xfrm>
            <a:custGeom>
              <a:avLst/>
              <a:gdLst/>
              <a:ahLst/>
              <a:cxnLst/>
              <a:rect l="l" t="t" r="r" b="b"/>
              <a:pathLst>
                <a:path w="38100" h="1282700">
                  <a:moveTo>
                    <a:pt x="0" y="1282465"/>
                  </a:moveTo>
                  <a:lnTo>
                    <a:pt x="37621" y="1282465"/>
                  </a:lnTo>
                  <a:lnTo>
                    <a:pt x="37621" y="0"/>
                  </a:lnTo>
                  <a:lnTo>
                    <a:pt x="0" y="0"/>
                  </a:lnTo>
                  <a:lnTo>
                    <a:pt x="0" y="1282465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6" name="object 132">
              <a:extLst>
                <a:ext uri="{FF2B5EF4-FFF2-40B4-BE49-F238E27FC236}">
                  <a16:creationId xmlns:a16="http://schemas.microsoft.com/office/drawing/2014/main" id="{1A49C8B0-F6EB-4392-A2B2-B9FC4EE55268}"/>
                </a:ext>
              </a:extLst>
            </p:cNvPr>
            <p:cNvSpPr/>
            <p:nvPr/>
          </p:nvSpPr>
          <p:spPr>
            <a:xfrm>
              <a:off x="1302578" y="9378594"/>
              <a:ext cx="283845" cy="62865"/>
            </a:xfrm>
            <a:custGeom>
              <a:avLst/>
              <a:gdLst/>
              <a:ahLst/>
              <a:cxnLst/>
              <a:rect l="l" t="t" r="r" b="b"/>
              <a:pathLst>
                <a:path w="283844" h="62865">
                  <a:moveTo>
                    <a:pt x="283384" y="0"/>
                  </a:moveTo>
                  <a:lnTo>
                    <a:pt x="0" y="0"/>
                  </a:lnTo>
                  <a:lnTo>
                    <a:pt x="0" y="62846"/>
                  </a:lnTo>
                  <a:lnTo>
                    <a:pt x="283384" y="62846"/>
                  </a:lnTo>
                  <a:lnTo>
                    <a:pt x="283384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7" name="object 133">
              <a:extLst>
                <a:ext uri="{FF2B5EF4-FFF2-40B4-BE49-F238E27FC236}">
                  <a16:creationId xmlns:a16="http://schemas.microsoft.com/office/drawing/2014/main" id="{C0713A5F-554A-4190-A5CD-493C05CD4747}"/>
                </a:ext>
              </a:extLst>
            </p:cNvPr>
            <p:cNvSpPr/>
            <p:nvPr/>
          </p:nvSpPr>
          <p:spPr>
            <a:xfrm>
              <a:off x="1339393" y="9378594"/>
              <a:ext cx="43815" cy="62865"/>
            </a:xfrm>
            <a:custGeom>
              <a:avLst/>
              <a:gdLst/>
              <a:ahLst/>
              <a:cxnLst/>
              <a:rect l="l" t="t" r="r" b="b"/>
              <a:pathLst>
                <a:path w="43815" h="62865">
                  <a:moveTo>
                    <a:pt x="43349" y="0"/>
                  </a:moveTo>
                  <a:lnTo>
                    <a:pt x="0" y="0"/>
                  </a:lnTo>
                  <a:lnTo>
                    <a:pt x="0" y="62846"/>
                  </a:lnTo>
                  <a:lnTo>
                    <a:pt x="43349" y="62846"/>
                  </a:lnTo>
                  <a:lnTo>
                    <a:pt x="43349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8" name="object 134">
              <a:extLst>
                <a:ext uri="{FF2B5EF4-FFF2-40B4-BE49-F238E27FC236}">
                  <a16:creationId xmlns:a16="http://schemas.microsoft.com/office/drawing/2014/main" id="{61E5F186-7718-498D-A45A-FA5DE0DF8FA4}"/>
                </a:ext>
              </a:extLst>
            </p:cNvPr>
            <p:cNvSpPr/>
            <p:nvPr/>
          </p:nvSpPr>
          <p:spPr>
            <a:xfrm>
              <a:off x="1481933" y="9378594"/>
              <a:ext cx="66675" cy="62865"/>
            </a:xfrm>
            <a:custGeom>
              <a:avLst/>
              <a:gdLst/>
              <a:ahLst/>
              <a:cxnLst/>
              <a:rect l="l" t="t" r="r" b="b"/>
              <a:pathLst>
                <a:path w="66675" h="62865">
                  <a:moveTo>
                    <a:pt x="66552" y="0"/>
                  </a:moveTo>
                  <a:lnTo>
                    <a:pt x="0" y="0"/>
                  </a:lnTo>
                  <a:lnTo>
                    <a:pt x="0" y="62846"/>
                  </a:lnTo>
                  <a:lnTo>
                    <a:pt x="66552" y="62846"/>
                  </a:lnTo>
                  <a:lnTo>
                    <a:pt x="66552" y="0"/>
                  </a:lnTo>
                  <a:close/>
                </a:path>
              </a:pathLst>
            </a:custGeom>
            <a:solidFill>
              <a:srgbClr val="000000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99" name="object 135">
              <a:extLst>
                <a:ext uri="{FF2B5EF4-FFF2-40B4-BE49-F238E27FC236}">
                  <a16:creationId xmlns:a16="http://schemas.microsoft.com/office/drawing/2014/main" id="{2E941EB6-1B42-4FF8-9AA2-A81BD9D88CAB}"/>
                </a:ext>
              </a:extLst>
            </p:cNvPr>
            <p:cNvSpPr/>
            <p:nvPr/>
          </p:nvSpPr>
          <p:spPr>
            <a:xfrm>
              <a:off x="2280737" y="6929080"/>
              <a:ext cx="383540" cy="238125"/>
            </a:xfrm>
            <a:custGeom>
              <a:avLst/>
              <a:gdLst/>
              <a:ahLst/>
              <a:cxnLst/>
              <a:rect l="l" t="t" r="r" b="b"/>
              <a:pathLst>
                <a:path w="383539" h="238125">
                  <a:moveTo>
                    <a:pt x="39548" y="0"/>
                  </a:moveTo>
                  <a:lnTo>
                    <a:pt x="16684" y="18000"/>
                  </a:lnTo>
                  <a:lnTo>
                    <a:pt x="4943" y="30327"/>
                  </a:lnTo>
                  <a:lnTo>
                    <a:pt x="617" y="42676"/>
                  </a:lnTo>
                  <a:lnTo>
                    <a:pt x="0" y="60741"/>
                  </a:lnTo>
                  <a:lnTo>
                    <a:pt x="2369" y="88976"/>
                  </a:lnTo>
                  <a:lnTo>
                    <a:pt x="7580" y="121476"/>
                  </a:lnTo>
                  <a:lnTo>
                    <a:pt x="12792" y="148281"/>
                  </a:lnTo>
                  <a:lnTo>
                    <a:pt x="15161" y="159429"/>
                  </a:lnTo>
                  <a:lnTo>
                    <a:pt x="100394" y="178434"/>
                  </a:lnTo>
                  <a:lnTo>
                    <a:pt x="293676" y="237804"/>
                  </a:lnTo>
                  <a:lnTo>
                    <a:pt x="341612" y="234464"/>
                  </a:lnTo>
                  <a:lnTo>
                    <a:pt x="375391" y="192742"/>
                  </a:lnTo>
                  <a:lnTo>
                    <a:pt x="383475" y="142634"/>
                  </a:lnTo>
                  <a:lnTo>
                    <a:pt x="377930" y="109885"/>
                  </a:lnTo>
                  <a:lnTo>
                    <a:pt x="362087" y="88065"/>
                  </a:lnTo>
                  <a:lnTo>
                    <a:pt x="345542" y="75905"/>
                  </a:lnTo>
                  <a:lnTo>
                    <a:pt x="337895" y="72133"/>
                  </a:lnTo>
                  <a:lnTo>
                    <a:pt x="39548" y="0"/>
                  </a:lnTo>
                  <a:close/>
                </a:path>
              </a:pathLst>
            </a:custGeom>
            <a:solidFill>
              <a:srgbClr val="8E99A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0" name="object 136">
              <a:extLst>
                <a:ext uri="{FF2B5EF4-FFF2-40B4-BE49-F238E27FC236}">
                  <a16:creationId xmlns:a16="http://schemas.microsoft.com/office/drawing/2014/main" id="{C454C411-EDEE-4483-8A9E-B35A5D805406}"/>
                </a:ext>
              </a:extLst>
            </p:cNvPr>
            <p:cNvSpPr/>
            <p:nvPr/>
          </p:nvSpPr>
          <p:spPr>
            <a:xfrm>
              <a:off x="2280742" y="6929087"/>
              <a:ext cx="383540" cy="142875"/>
            </a:xfrm>
            <a:custGeom>
              <a:avLst/>
              <a:gdLst/>
              <a:ahLst/>
              <a:cxnLst/>
              <a:rect l="l" t="t" r="r" b="b"/>
              <a:pathLst>
                <a:path w="383539" h="142875">
                  <a:moveTo>
                    <a:pt x="39527" y="0"/>
                  </a:moveTo>
                  <a:lnTo>
                    <a:pt x="16675" y="17994"/>
                  </a:lnTo>
                  <a:lnTo>
                    <a:pt x="4940" y="30319"/>
                  </a:lnTo>
                  <a:lnTo>
                    <a:pt x="617" y="42670"/>
                  </a:lnTo>
                  <a:lnTo>
                    <a:pt x="0" y="60741"/>
                  </a:lnTo>
                  <a:lnTo>
                    <a:pt x="38498" y="70797"/>
                  </a:lnTo>
                  <a:lnTo>
                    <a:pt x="82427" y="79724"/>
                  </a:lnTo>
                  <a:lnTo>
                    <a:pt x="130420" y="88112"/>
                  </a:lnTo>
                  <a:lnTo>
                    <a:pt x="181108" y="96550"/>
                  </a:lnTo>
                  <a:lnTo>
                    <a:pt x="233125" y="105630"/>
                  </a:lnTo>
                  <a:lnTo>
                    <a:pt x="285103" y="115942"/>
                  </a:lnTo>
                  <a:lnTo>
                    <a:pt x="335676" y="128077"/>
                  </a:lnTo>
                  <a:lnTo>
                    <a:pt x="383475" y="142623"/>
                  </a:lnTo>
                  <a:lnTo>
                    <a:pt x="377925" y="109874"/>
                  </a:lnTo>
                  <a:lnTo>
                    <a:pt x="362083" y="88054"/>
                  </a:lnTo>
                  <a:lnTo>
                    <a:pt x="345541" y="75894"/>
                  </a:lnTo>
                  <a:lnTo>
                    <a:pt x="337895" y="72123"/>
                  </a:lnTo>
                  <a:lnTo>
                    <a:pt x="39527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1" name="object 137">
              <a:extLst>
                <a:ext uri="{FF2B5EF4-FFF2-40B4-BE49-F238E27FC236}">
                  <a16:creationId xmlns:a16="http://schemas.microsoft.com/office/drawing/2014/main" id="{57B918F9-6F8C-4303-AF45-A82BFAE94B7C}"/>
                </a:ext>
              </a:extLst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2255585" y="6940992"/>
              <a:ext cx="73840" cy="138205"/>
            </a:xfrm>
            <a:prstGeom prst="rect">
              <a:avLst/>
            </a:prstGeom>
          </p:spPr>
        </p:pic>
        <p:sp>
          <p:nvSpPr>
            <p:cNvPr id="102" name="object 138">
              <a:extLst>
                <a:ext uri="{FF2B5EF4-FFF2-40B4-BE49-F238E27FC236}">
                  <a16:creationId xmlns:a16="http://schemas.microsoft.com/office/drawing/2014/main" id="{20862272-3D30-4E29-975B-CB4871748C56}"/>
                </a:ext>
              </a:extLst>
            </p:cNvPr>
            <p:cNvSpPr/>
            <p:nvPr/>
          </p:nvSpPr>
          <p:spPr>
            <a:xfrm>
              <a:off x="2280737" y="6989821"/>
              <a:ext cx="341630" cy="177165"/>
            </a:xfrm>
            <a:custGeom>
              <a:avLst/>
              <a:gdLst/>
              <a:ahLst/>
              <a:cxnLst/>
              <a:rect l="l" t="t" r="r" b="b"/>
              <a:pathLst>
                <a:path w="341630" h="177165">
                  <a:moveTo>
                    <a:pt x="0" y="0"/>
                  </a:moveTo>
                  <a:lnTo>
                    <a:pt x="7580" y="60735"/>
                  </a:lnTo>
                  <a:lnTo>
                    <a:pt x="15161" y="98688"/>
                  </a:lnTo>
                  <a:lnTo>
                    <a:pt x="100394" y="117692"/>
                  </a:lnTo>
                  <a:lnTo>
                    <a:pt x="293676" y="177062"/>
                  </a:lnTo>
                  <a:lnTo>
                    <a:pt x="341612" y="173722"/>
                  </a:lnTo>
                  <a:lnTo>
                    <a:pt x="321014" y="126221"/>
                  </a:lnTo>
                  <a:lnTo>
                    <a:pt x="278563" y="92291"/>
                  </a:lnTo>
                  <a:lnTo>
                    <a:pt x="182234" y="556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3" name="object 139">
              <a:extLst>
                <a:ext uri="{FF2B5EF4-FFF2-40B4-BE49-F238E27FC236}">
                  <a16:creationId xmlns:a16="http://schemas.microsoft.com/office/drawing/2014/main" id="{89F29602-AEA2-4F7C-8342-FF044AE02418}"/>
                </a:ext>
              </a:extLst>
            </p:cNvPr>
            <p:cNvSpPr/>
            <p:nvPr/>
          </p:nvSpPr>
          <p:spPr>
            <a:xfrm>
              <a:off x="2266181" y="7093929"/>
              <a:ext cx="316865" cy="2347595"/>
            </a:xfrm>
            <a:custGeom>
              <a:avLst/>
              <a:gdLst/>
              <a:ahLst/>
              <a:cxnLst/>
              <a:rect l="l" t="t" r="r" b="b"/>
              <a:pathLst>
                <a:path w="316864" h="2347595">
                  <a:moveTo>
                    <a:pt x="170412" y="0"/>
                  </a:moveTo>
                  <a:lnTo>
                    <a:pt x="131859" y="3265"/>
                  </a:lnTo>
                  <a:lnTo>
                    <a:pt x="83590" y="30789"/>
                  </a:lnTo>
                  <a:lnTo>
                    <a:pt x="66772" y="70541"/>
                  </a:lnTo>
                  <a:lnTo>
                    <a:pt x="66490" y="70541"/>
                  </a:lnTo>
                  <a:lnTo>
                    <a:pt x="0" y="2347508"/>
                  </a:lnTo>
                  <a:lnTo>
                    <a:pt x="316702" y="2347508"/>
                  </a:lnTo>
                  <a:lnTo>
                    <a:pt x="250212" y="70541"/>
                  </a:lnTo>
                  <a:lnTo>
                    <a:pt x="249960" y="70541"/>
                  </a:lnTo>
                  <a:lnTo>
                    <a:pt x="249211" y="55865"/>
                  </a:lnTo>
                  <a:lnTo>
                    <a:pt x="244128" y="41137"/>
                  </a:lnTo>
                  <a:lnTo>
                    <a:pt x="234067" y="27452"/>
                  </a:lnTo>
                  <a:lnTo>
                    <a:pt x="218380" y="15903"/>
                  </a:lnTo>
                  <a:lnTo>
                    <a:pt x="192317" y="4536"/>
                  </a:lnTo>
                  <a:lnTo>
                    <a:pt x="170412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04" name="object 140">
              <a:extLst>
                <a:ext uri="{FF2B5EF4-FFF2-40B4-BE49-F238E27FC236}">
                  <a16:creationId xmlns:a16="http://schemas.microsoft.com/office/drawing/2014/main" id="{C1838961-ED17-45C0-9FB1-2787E4EBAADE}"/>
                </a:ext>
              </a:extLst>
            </p:cNvPr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2330087" y="7070927"/>
              <a:ext cx="188591" cy="178738"/>
            </a:xfrm>
            <a:prstGeom prst="rect">
              <a:avLst/>
            </a:prstGeom>
          </p:spPr>
        </p:pic>
        <p:sp>
          <p:nvSpPr>
            <p:cNvPr id="105" name="object 141">
              <a:extLst>
                <a:ext uri="{FF2B5EF4-FFF2-40B4-BE49-F238E27FC236}">
                  <a16:creationId xmlns:a16="http://schemas.microsoft.com/office/drawing/2014/main" id="{F38FF287-A942-42A3-B1CA-C44A912931A5}"/>
                </a:ext>
              </a:extLst>
            </p:cNvPr>
            <p:cNvSpPr/>
            <p:nvPr/>
          </p:nvSpPr>
          <p:spPr>
            <a:xfrm>
              <a:off x="2438274" y="7093572"/>
              <a:ext cx="95885" cy="2348230"/>
            </a:xfrm>
            <a:custGeom>
              <a:avLst/>
              <a:gdLst/>
              <a:ahLst/>
              <a:cxnLst/>
              <a:rect l="l" t="t" r="r" b="b"/>
              <a:pathLst>
                <a:path w="95885" h="2348229">
                  <a:moveTo>
                    <a:pt x="30522" y="0"/>
                  </a:moveTo>
                  <a:lnTo>
                    <a:pt x="3069" y="44682"/>
                  </a:lnTo>
                  <a:lnTo>
                    <a:pt x="0" y="2347865"/>
                  </a:lnTo>
                  <a:lnTo>
                    <a:pt x="95745" y="2347865"/>
                  </a:lnTo>
                  <a:lnTo>
                    <a:pt x="58092" y="73149"/>
                  </a:lnTo>
                  <a:lnTo>
                    <a:pt x="57757" y="44682"/>
                  </a:lnTo>
                  <a:lnTo>
                    <a:pt x="54901" y="21429"/>
                  </a:lnTo>
                  <a:lnTo>
                    <a:pt x="46748" y="5750"/>
                  </a:lnTo>
                  <a:lnTo>
                    <a:pt x="30522" y="0"/>
                  </a:lnTo>
                  <a:close/>
                </a:path>
              </a:pathLst>
            </a:custGeom>
            <a:solidFill>
              <a:srgbClr val="000000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6" name="object 142">
              <a:extLst>
                <a:ext uri="{FF2B5EF4-FFF2-40B4-BE49-F238E27FC236}">
                  <a16:creationId xmlns:a16="http://schemas.microsoft.com/office/drawing/2014/main" id="{EAAD2D60-60ED-4E3E-918B-60C00D11E928}"/>
                </a:ext>
              </a:extLst>
            </p:cNvPr>
            <p:cNvSpPr/>
            <p:nvPr/>
          </p:nvSpPr>
          <p:spPr>
            <a:xfrm>
              <a:off x="2309348" y="7106305"/>
              <a:ext cx="65405" cy="2335530"/>
            </a:xfrm>
            <a:custGeom>
              <a:avLst/>
              <a:gdLst/>
              <a:ahLst/>
              <a:cxnLst/>
              <a:rect l="l" t="t" r="r" b="b"/>
              <a:pathLst>
                <a:path w="65405" h="2335529">
                  <a:moveTo>
                    <a:pt x="51066" y="0"/>
                  </a:moveTo>
                  <a:lnTo>
                    <a:pt x="42684" y="5717"/>
                  </a:lnTo>
                  <a:lnTo>
                    <a:pt x="38466" y="21309"/>
                  </a:lnTo>
                  <a:lnTo>
                    <a:pt x="36982" y="44434"/>
                  </a:lnTo>
                  <a:lnTo>
                    <a:pt x="36805" y="72751"/>
                  </a:lnTo>
                  <a:lnTo>
                    <a:pt x="0" y="2335133"/>
                  </a:lnTo>
                  <a:lnTo>
                    <a:pt x="49265" y="2335133"/>
                  </a:lnTo>
                  <a:lnTo>
                    <a:pt x="65317" y="72751"/>
                  </a:lnTo>
                  <a:lnTo>
                    <a:pt x="65134" y="44434"/>
                  </a:lnTo>
                  <a:lnTo>
                    <a:pt x="63642" y="21309"/>
                  </a:lnTo>
                  <a:lnTo>
                    <a:pt x="59424" y="5717"/>
                  </a:lnTo>
                  <a:lnTo>
                    <a:pt x="5106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7" name="object 143">
              <a:extLst>
                <a:ext uri="{FF2B5EF4-FFF2-40B4-BE49-F238E27FC236}">
                  <a16:creationId xmlns:a16="http://schemas.microsoft.com/office/drawing/2014/main" id="{D3A8F4B4-F999-4FCB-ACA9-02D39CC88CBD}"/>
                </a:ext>
              </a:extLst>
            </p:cNvPr>
            <p:cNvSpPr/>
            <p:nvPr/>
          </p:nvSpPr>
          <p:spPr>
            <a:xfrm>
              <a:off x="2176593" y="9332428"/>
              <a:ext cx="492125" cy="109220"/>
            </a:xfrm>
            <a:custGeom>
              <a:avLst/>
              <a:gdLst/>
              <a:ahLst/>
              <a:cxnLst/>
              <a:rect l="l" t="t" r="r" b="b"/>
              <a:pathLst>
                <a:path w="492125" h="109220">
                  <a:moveTo>
                    <a:pt x="491838" y="0"/>
                  </a:moveTo>
                  <a:lnTo>
                    <a:pt x="0" y="0"/>
                  </a:lnTo>
                  <a:lnTo>
                    <a:pt x="0" y="109012"/>
                  </a:lnTo>
                  <a:lnTo>
                    <a:pt x="491838" y="109012"/>
                  </a:lnTo>
                  <a:lnTo>
                    <a:pt x="491838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8" name="object 144">
              <a:extLst>
                <a:ext uri="{FF2B5EF4-FFF2-40B4-BE49-F238E27FC236}">
                  <a16:creationId xmlns:a16="http://schemas.microsoft.com/office/drawing/2014/main" id="{D62930D6-7CF7-4F99-B31B-CFB4B53B09F7}"/>
                </a:ext>
              </a:extLst>
            </p:cNvPr>
            <p:cNvSpPr/>
            <p:nvPr/>
          </p:nvSpPr>
          <p:spPr>
            <a:xfrm>
              <a:off x="2240476" y="9332428"/>
              <a:ext cx="75565" cy="109220"/>
            </a:xfrm>
            <a:custGeom>
              <a:avLst/>
              <a:gdLst/>
              <a:ahLst/>
              <a:cxnLst/>
              <a:rect l="l" t="t" r="r" b="b"/>
              <a:pathLst>
                <a:path w="75564" h="109220">
                  <a:moveTo>
                    <a:pt x="75275" y="0"/>
                  </a:moveTo>
                  <a:lnTo>
                    <a:pt x="0" y="0"/>
                  </a:lnTo>
                  <a:lnTo>
                    <a:pt x="0" y="109012"/>
                  </a:lnTo>
                  <a:lnTo>
                    <a:pt x="75275" y="109012"/>
                  </a:lnTo>
                  <a:lnTo>
                    <a:pt x="75275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09" name="object 145">
              <a:extLst>
                <a:ext uri="{FF2B5EF4-FFF2-40B4-BE49-F238E27FC236}">
                  <a16:creationId xmlns:a16="http://schemas.microsoft.com/office/drawing/2014/main" id="{3D0BBFCE-408A-4C60-9EE4-DCD433E11D23}"/>
                </a:ext>
              </a:extLst>
            </p:cNvPr>
            <p:cNvSpPr/>
            <p:nvPr/>
          </p:nvSpPr>
          <p:spPr>
            <a:xfrm>
              <a:off x="2487871" y="9332428"/>
              <a:ext cx="115570" cy="109220"/>
            </a:xfrm>
            <a:custGeom>
              <a:avLst/>
              <a:gdLst/>
              <a:ahLst/>
              <a:cxnLst/>
              <a:rect l="l" t="t" r="r" b="b"/>
              <a:pathLst>
                <a:path w="115569" h="109220">
                  <a:moveTo>
                    <a:pt x="115514" y="0"/>
                  </a:moveTo>
                  <a:lnTo>
                    <a:pt x="0" y="0"/>
                  </a:lnTo>
                  <a:lnTo>
                    <a:pt x="0" y="109012"/>
                  </a:lnTo>
                  <a:lnTo>
                    <a:pt x="115514" y="109012"/>
                  </a:lnTo>
                  <a:lnTo>
                    <a:pt x="115514" y="0"/>
                  </a:lnTo>
                  <a:close/>
                </a:path>
              </a:pathLst>
            </a:custGeom>
            <a:solidFill>
              <a:srgbClr val="000000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0" name="object 146">
              <a:extLst>
                <a:ext uri="{FF2B5EF4-FFF2-40B4-BE49-F238E27FC236}">
                  <a16:creationId xmlns:a16="http://schemas.microsoft.com/office/drawing/2014/main" id="{3DD9310F-8065-4FEF-B42E-0ACC6EBAB292}"/>
                </a:ext>
              </a:extLst>
            </p:cNvPr>
            <p:cNvSpPr/>
            <p:nvPr/>
          </p:nvSpPr>
          <p:spPr>
            <a:xfrm>
              <a:off x="2258834" y="6970999"/>
              <a:ext cx="1015365" cy="531495"/>
            </a:xfrm>
            <a:custGeom>
              <a:avLst/>
              <a:gdLst/>
              <a:ahLst/>
              <a:cxnLst/>
              <a:rect l="l" t="t" r="r" b="b"/>
              <a:pathLst>
                <a:path w="1015364" h="531495">
                  <a:moveTo>
                    <a:pt x="16742" y="0"/>
                  </a:moveTo>
                  <a:lnTo>
                    <a:pt x="0" y="33412"/>
                  </a:lnTo>
                  <a:lnTo>
                    <a:pt x="295760" y="306189"/>
                  </a:lnTo>
                  <a:lnTo>
                    <a:pt x="998398" y="531030"/>
                  </a:lnTo>
                  <a:lnTo>
                    <a:pt x="1015058" y="497566"/>
                  </a:lnTo>
                  <a:lnTo>
                    <a:pt x="16742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1" name="object 147">
              <a:extLst>
                <a:ext uri="{FF2B5EF4-FFF2-40B4-BE49-F238E27FC236}">
                  <a16:creationId xmlns:a16="http://schemas.microsoft.com/office/drawing/2014/main" id="{B437A19A-6031-4033-9417-806C861D456D}"/>
                </a:ext>
              </a:extLst>
            </p:cNvPr>
            <p:cNvSpPr/>
            <p:nvPr/>
          </p:nvSpPr>
          <p:spPr>
            <a:xfrm>
              <a:off x="2258834" y="6970999"/>
              <a:ext cx="1015365" cy="531495"/>
            </a:xfrm>
            <a:custGeom>
              <a:avLst/>
              <a:gdLst/>
              <a:ahLst/>
              <a:cxnLst/>
              <a:rect l="l" t="t" r="r" b="b"/>
              <a:pathLst>
                <a:path w="1015364" h="531495">
                  <a:moveTo>
                    <a:pt x="16742" y="0"/>
                  </a:moveTo>
                  <a:lnTo>
                    <a:pt x="0" y="33412"/>
                  </a:lnTo>
                  <a:lnTo>
                    <a:pt x="998398" y="531030"/>
                  </a:lnTo>
                  <a:lnTo>
                    <a:pt x="1015058" y="497566"/>
                  </a:lnTo>
                  <a:lnTo>
                    <a:pt x="16742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2" name="object 148">
              <a:extLst>
                <a:ext uri="{FF2B5EF4-FFF2-40B4-BE49-F238E27FC236}">
                  <a16:creationId xmlns:a16="http://schemas.microsoft.com/office/drawing/2014/main" id="{86B53E80-EE4C-4B9A-B204-E8F72D9D277D}"/>
                </a:ext>
              </a:extLst>
            </p:cNvPr>
            <p:cNvSpPr/>
            <p:nvPr/>
          </p:nvSpPr>
          <p:spPr>
            <a:xfrm>
              <a:off x="3107499" y="7399305"/>
              <a:ext cx="167005" cy="102870"/>
            </a:xfrm>
            <a:custGeom>
              <a:avLst/>
              <a:gdLst/>
              <a:ahLst/>
              <a:cxnLst/>
              <a:rect l="l" t="t" r="r" b="b"/>
              <a:pathLst>
                <a:path w="167004" h="102870">
                  <a:moveTo>
                    <a:pt x="74485" y="23469"/>
                  </a:moveTo>
                  <a:lnTo>
                    <a:pt x="27381" y="0"/>
                  </a:lnTo>
                  <a:lnTo>
                    <a:pt x="0" y="54800"/>
                  </a:lnTo>
                  <a:lnTo>
                    <a:pt x="50749" y="71056"/>
                  </a:lnTo>
                  <a:lnTo>
                    <a:pt x="74485" y="23469"/>
                  </a:lnTo>
                  <a:close/>
                </a:path>
                <a:path w="167004" h="102870">
                  <a:moveTo>
                    <a:pt x="166395" y="69265"/>
                  </a:moveTo>
                  <a:lnTo>
                    <a:pt x="119329" y="45745"/>
                  </a:lnTo>
                  <a:lnTo>
                    <a:pt x="98996" y="86550"/>
                  </a:lnTo>
                  <a:lnTo>
                    <a:pt x="149720" y="102730"/>
                  </a:lnTo>
                  <a:lnTo>
                    <a:pt x="166395" y="69265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3" name="object 149">
              <a:extLst>
                <a:ext uri="{FF2B5EF4-FFF2-40B4-BE49-F238E27FC236}">
                  <a16:creationId xmlns:a16="http://schemas.microsoft.com/office/drawing/2014/main" id="{A0E2AD03-69C9-40C4-865A-22189E87427C}"/>
                </a:ext>
              </a:extLst>
            </p:cNvPr>
            <p:cNvSpPr/>
            <p:nvPr/>
          </p:nvSpPr>
          <p:spPr>
            <a:xfrm>
              <a:off x="1327382" y="6982838"/>
              <a:ext cx="951230" cy="647065"/>
            </a:xfrm>
            <a:custGeom>
              <a:avLst/>
              <a:gdLst/>
              <a:ahLst/>
              <a:cxnLst/>
              <a:rect l="l" t="t" r="r" b="b"/>
              <a:pathLst>
                <a:path w="951230" h="647065">
                  <a:moveTo>
                    <a:pt x="930118" y="0"/>
                  </a:moveTo>
                  <a:lnTo>
                    <a:pt x="546025" y="119724"/>
                  </a:lnTo>
                  <a:lnTo>
                    <a:pt x="0" y="615740"/>
                  </a:lnTo>
                  <a:lnTo>
                    <a:pt x="20648" y="646943"/>
                  </a:lnTo>
                  <a:lnTo>
                    <a:pt x="950829" y="31182"/>
                  </a:lnTo>
                  <a:lnTo>
                    <a:pt x="930118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4" name="object 150">
              <a:extLst>
                <a:ext uri="{FF2B5EF4-FFF2-40B4-BE49-F238E27FC236}">
                  <a16:creationId xmlns:a16="http://schemas.microsoft.com/office/drawing/2014/main" id="{3BFF6C5D-D415-4E4E-AB27-69AE24F3B1AD}"/>
                </a:ext>
              </a:extLst>
            </p:cNvPr>
            <p:cNvSpPr/>
            <p:nvPr/>
          </p:nvSpPr>
          <p:spPr>
            <a:xfrm>
              <a:off x="1327382" y="6982838"/>
              <a:ext cx="951230" cy="647065"/>
            </a:xfrm>
            <a:custGeom>
              <a:avLst/>
              <a:gdLst/>
              <a:ahLst/>
              <a:cxnLst/>
              <a:rect l="l" t="t" r="r" b="b"/>
              <a:pathLst>
                <a:path w="951230" h="647065">
                  <a:moveTo>
                    <a:pt x="930118" y="0"/>
                  </a:moveTo>
                  <a:lnTo>
                    <a:pt x="0" y="615740"/>
                  </a:lnTo>
                  <a:lnTo>
                    <a:pt x="20648" y="646943"/>
                  </a:lnTo>
                  <a:lnTo>
                    <a:pt x="950829" y="31182"/>
                  </a:lnTo>
                  <a:lnTo>
                    <a:pt x="930118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5" name="object 151">
              <a:extLst>
                <a:ext uri="{FF2B5EF4-FFF2-40B4-BE49-F238E27FC236}">
                  <a16:creationId xmlns:a16="http://schemas.microsoft.com/office/drawing/2014/main" id="{1E2CD9D4-1205-46F0-93AA-E9276463CFA0}"/>
                </a:ext>
              </a:extLst>
            </p:cNvPr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1327385" y="7492970"/>
              <a:ext cx="150196" cy="136808"/>
            </a:xfrm>
            <a:prstGeom prst="rect">
              <a:avLst/>
            </a:prstGeom>
          </p:spPr>
        </p:pic>
        <p:sp>
          <p:nvSpPr>
            <p:cNvPr id="116" name="object 152">
              <a:extLst>
                <a:ext uri="{FF2B5EF4-FFF2-40B4-BE49-F238E27FC236}">
                  <a16:creationId xmlns:a16="http://schemas.microsoft.com/office/drawing/2014/main" id="{2301C0EA-5157-4DEE-BFC5-D311D15265F2}"/>
                </a:ext>
              </a:extLst>
            </p:cNvPr>
            <p:cNvSpPr/>
            <p:nvPr/>
          </p:nvSpPr>
          <p:spPr>
            <a:xfrm>
              <a:off x="2171417" y="5879057"/>
              <a:ext cx="194310" cy="1115695"/>
            </a:xfrm>
            <a:custGeom>
              <a:avLst/>
              <a:gdLst/>
              <a:ahLst/>
              <a:cxnLst/>
              <a:rect l="l" t="t" r="r" b="b"/>
              <a:pathLst>
                <a:path w="194310" h="1115695">
                  <a:moveTo>
                    <a:pt x="37318" y="0"/>
                  </a:moveTo>
                  <a:lnTo>
                    <a:pt x="0" y="2261"/>
                  </a:lnTo>
                  <a:lnTo>
                    <a:pt x="68113" y="1115683"/>
                  </a:lnTo>
                  <a:lnTo>
                    <a:pt x="105410" y="1113432"/>
                  </a:lnTo>
                  <a:lnTo>
                    <a:pt x="193816" y="720899"/>
                  </a:lnTo>
                  <a:lnTo>
                    <a:pt x="37318" y="0"/>
                  </a:lnTo>
                  <a:close/>
                </a:path>
              </a:pathLst>
            </a:custGeom>
            <a:solidFill>
              <a:srgbClr val="C6CAD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7" name="object 153">
              <a:extLst>
                <a:ext uri="{FF2B5EF4-FFF2-40B4-BE49-F238E27FC236}">
                  <a16:creationId xmlns:a16="http://schemas.microsoft.com/office/drawing/2014/main" id="{B54981FF-0317-4F8E-8A0E-D77E2AF9339D}"/>
                </a:ext>
              </a:extLst>
            </p:cNvPr>
            <p:cNvSpPr/>
            <p:nvPr/>
          </p:nvSpPr>
          <p:spPr>
            <a:xfrm>
              <a:off x="2171417" y="5879057"/>
              <a:ext cx="105410" cy="1115695"/>
            </a:xfrm>
            <a:custGeom>
              <a:avLst/>
              <a:gdLst/>
              <a:ahLst/>
              <a:cxnLst/>
              <a:rect l="l" t="t" r="r" b="b"/>
              <a:pathLst>
                <a:path w="105410" h="1115695">
                  <a:moveTo>
                    <a:pt x="37318" y="0"/>
                  </a:moveTo>
                  <a:lnTo>
                    <a:pt x="0" y="2261"/>
                  </a:lnTo>
                  <a:lnTo>
                    <a:pt x="68113" y="1115683"/>
                  </a:lnTo>
                  <a:lnTo>
                    <a:pt x="105410" y="1113432"/>
                  </a:lnTo>
                  <a:lnTo>
                    <a:pt x="37318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8" name="object 154">
              <a:extLst>
                <a:ext uri="{FF2B5EF4-FFF2-40B4-BE49-F238E27FC236}">
                  <a16:creationId xmlns:a16="http://schemas.microsoft.com/office/drawing/2014/main" id="{12C726A3-E024-46B8-AF3C-8EF2510CE4C4}"/>
                </a:ext>
              </a:extLst>
            </p:cNvPr>
            <p:cNvSpPr/>
            <p:nvPr/>
          </p:nvSpPr>
          <p:spPr>
            <a:xfrm>
              <a:off x="2171407" y="5879052"/>
              <a:ext cx="71120" cy="157480"/>
            </a:xfrm>
            <a:custGeom>
              <a:avLst/>
              <a:gdLst/>
              <a:ahLst/>
              <a:cxnLst/>
              <a:rect l="l" t="t" r="r" b="b"/>
              <a:pathLst>
                <a:path w="71119" h="157479">
                  <a:moveTo>
                    <a:pt x="48615" y="52044"/>
                  </a:moveTo>
                  <a:lnTo>
                    <a:pt x="37325" y="0"/>
                  </a:lnTo>
                  <a:lnTo>
                    <a:pt x="0" y="2273"/>
                  </a:lnTo>
                  <a:lnTo>
                    <a:pt x="3200" y="54825"/>
                  </a:lnTo>
                  <a:lnTo>
                    <a:pt x="48615" y="52044"/>
                  </a:lnTo>
                  <a:close/>
                </a:path>
                <a:path w="71119" h="157479">
                  <a:moveTo>
                    <a:pt x="70662" y="153657"/>
                  </a:moveTo>
                  <a:lnTo>
                    <a:pt x="59321" y="101600"/>
                  </a:lnTo>
                  <a:lnTo>
                    <a:pt x="6273" y="104838"/>
                  </a:lnTo>
                  <a:lnTo>
                    <a:pt x="9461" y="157353"/>
                  </a:lnTo>
                  <a:lnTo>
                    <a:pt x="70662" y="153657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19" name="object 155">
              <a:extLst>
                <a:ext uri="{FF2B5EF4-FFF2-40B4-BE49-F238E27FC236}">
                  <a16:creationId xmlns:a16="http://schemas.microsoft.com/office/drawing/2014/main" id="{B40C5908-7925-49E9-B649-DDB92624C0D6}"/>
                </a:ext>
              </a:extLst>
            </p:cNvPr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188016" y="6934748"/>
              <a:ext cx="112184" cy="122083"/>
            </a:xfrm>
            <a:prstGeom prst="rect">
              <a:avLst/>
            </a:prstGeom>
          </p:spPr>
        </p:pic>
        <p:sp>
          <p:nvSpPr>
            <p:cNvPr id="120" name="object 156">
              <a:extLst>
                <a:ext uri="{FF2B5EF4-FFF2-40B4-BE49-F238E27FC236}">
                  <a16:creationId xmlns:a16="http://schemas.microsoft.com/office/drawing/2014/main" id="{8FB145D8-45D9-44B2-A5CD-037F8563A252}"/>
                </a:ext>
              </a:extLst>
            </p:cNvPr>
            <p:cNvSpPr/>
            <p:nvPr/>
          </p:nvSpPr>
          <p:spPr>
            <a:xfrm>
              <a:off x="15985317" y="8415052"/>
              <a:ext cx="1147445" cy="930910"/>
            </a:xfrm>
            <a:custGeom>
              <a:avLst/>
              <a:gdLst/>
              <a:ahLst/>
              <a:cxnLst/>
              <a:rect l="l" t="t" r="r" b="b"/>
              <a:pathLst>
                <a:path w="1147444" h="930909">
                  <a:moveTo>
                    <a:pt x="570286" y="0"/>
                  </a:moveTo>
                  <a:lnTo>
                    <a:pt x="524587" y="5737"/>
                  </a:lnTo>
                  <a:lnTo>
                    <a:pt x="482040" y="19773"/>
                  </a:lnTo>
                  <a:lnTo>
                    <a:pt x="443435" y="41251"/>
                  </a:lnTo>
                  <a:lnTo>
                    <a:pt x="409558" y="69314"/>
                  </a:lnTo>
                  <a:lnTo>
                    <a:pt x="381198" y="103107"/>
                  </a:lnTo>
                  <a:lnTo>
                    <a:pt x="359143" y="141775"/>
                  </a:lnTo>
                  <a:lnTo>
                    <a:pt x="344180" y="184460"/>
                  </a:lnTo>
                  <a:lnTo>
                    <a:pt x="337099" y="230307"/>
                  </a:lnTo>
                  <a:lnTo>
                    <a:pt x="316248" y="223729"/>
                  </a:lnTo>
                  <a:lnTo>
                    <a:pt x="294682" y="219031"/>
                  </a:lnTo>
                  <a:lnTo>
                    <a:pt x="272464" y="216361"/>
                  </a:lnTo>
                  <a:lnTo>
                    <a:pt x="249657" y="215867"/>
                  </a:lnTo>
                  <a:lnTo>
                    <a:pt x="201326" y="222235"/>
                  </a:lnTo>
                  <a:lnTo>
                    <a:pt x="156577" y="237857"/>
                  </a:lnTo>
                  <a:lnTo>
                    <a:pt x="116352" y="261715"/>
                  </a:lnTo>
                  <a:lnTo>
                    <a:pt x="81591" y="292793"/>
                  </a:lnTo>
                  <a:lnTo>
                    <a:pt x="53236" y="330073"/>
                  </a:lnTo>
                  <a:lnTo>
                    <a:pt x="32226" y="372539"/>
                  </a:lnTo>
                  <a:lnTo>
                    <a:pt x="19504" y="419174"/>
                  </a:lnTo>
                  <a:lnTo>
                    <a:pt x="16009" y="468959"/>
                  </a:lnTo>
                  <a:lnTo>
                    <a:pt x="17464" y="489623"/>
                  </a:lnTo>
                  <a:lnTo>
                    <a:pt x="20576" y="509733"/>
                  </a:lnTo>
                  <a:lnTo>
                    <a:pt x="25237" y="529254"/>
                  </a:lnTo>
                  <a:lnTo>
                    <a:pt x="31339" y="548150"/>
                  </a:lnTo>
                  <a:lnTo>
                    <a:pt x="17428" y="577542"/>
                  </a:lnTo>
                  <a:lnTo>
                    <a:pt x="7345" y="608896"/>
                  </a:lnTo>
                  <a:lnTo>
                    <a:pt x="1424" y="641913"/>
                  </a:lnTo>
                  <a:lnTo>
                    <a:pt x="0" y="676293"/>
                  </a:lnTo>
                  <a:lnTo>
                    <a:pt x="6292" y="725799"/>
                  </a:lnTo>
                  <a:lnTo>
                    <a:pt x="21618" y="771645"/>
                  </a:lnTo>
                  <a:lnTo>
                    <a:pt x="44982" y="812866"/>
                  </a:lnTo>
                  <a:lnTo>
                    <a:pt x="75389" y="848500"/>
                  </a:lnTo>
                  <a:lnTo>
                    <a:pt x="111844" y="877581"/>
                  </a:lnTo>
                  <a:lnTo>
                    <a:pt x="153353" y="899145"/>
                  </a:lnTo>
                  <a:lnTo>
                    <a:pt x="198920" y="912229"/>
                  </a:lnTo>
                  <a:lnTo>
                    <a:pt x="247552" y="915867"/>
                  </a:lnTo>
                  <a:lnTo>
                    <a:pt x="278288" y="912980"/>
                  </a:lnTo>
                  <a:lnTo>
                    <a:pt x="307726" y="906247"/>
                  </a:lnTo>
                  <a:lnTo>
                    <a:pt x="335644" y="895944"/>
                  </a:lnTo>
                  <a:lnTo>
                    <a:pt x="361821" y="882350"/>
                  </a:lnTo>
                  <a:lnTo>
                    <a:pt x="363873" y="884475"/>
                  </a:lnTo>
                  <a:lnTo>
                    <a:pt x="365507" y="886810"/>
                  </a:lnTo>
                  <a:lnTo>
                    <a:pt x="367706" y="888810"/>
                  </a:lnTo>
                  <a:lnTo>
                    <a:pt x="407986" y="915512"/>
                  </a:lnTo>
                  <a:lnTo>
                    <a:pt x="453109" y="927754"/>
                  </a:lnTo>
                  <a:lnTo>
                    <a:pt x="499548" y="925687"/>
                  </a:lnTo>
                  <a:lnTo>
                    <a:pt x="543779" y="909462"/>
                  </a:lnTo>
                  <a:lnTo>
                    <a:pt x="582275" y="879229"/>
                  </a:lnTo>
                  <a:lnTo>
                    <a:pt x="608683" y="839576"/>
                  </a:lnTo>
                  <a:lnTo>
                    <a:pt x="639934" y="857435"/>
                  </a:lnTo>
                  <a:lnTo>
                    <a:pt x="673788" y="870442"/>
                  </a:lnTo>
                  <a:lnTo>
                    <a:pt x="709782" y="878143"/>
                  </a:lnTo>
                  <a:lnTo>
                    <a:pt x="747453" y="880088"/>
                  </a:lnTo>
                  <a:lnTo>
                    <a:pt x="769789" y="878366"/>
                  </a:lnTo>
                  <a:lnTo>
                    <a:pt x="791447" y="874579"/>
                  </a:lnTo>
                  <a:lnTo>
                    <a:pt x="812374" y="868866"/>
                  </a:lnTo>
                  <a:lnTo>
                    <a:pt x="832519" y="861366"/>
                  </a:lnTo>
                  <a:lnTo>
                    <a:pt x="836307" y="873818"/>
                  </a:lnTo>
                  <a:lnTo>
                    <a:pt x="858434" y="906757"/>
                  </a:lnTo>
                  <a:lnTo>
                    <a:pt x="924212" y="930598"/>
                  </a:lnTo>
                  <a:lnTo>
                    <a:pt x="958680" y="922190"/>
                  </a:lnTo>
                  <a:lnTo>
                    <a:pt x="988608" y="900496"/>
                  </a:lnTo>
                  <a:lnTo>
                    <a:pt x="1003350" y="879571"/>
                  </a:lnTo>
                  <a:lnTo>
                    <a:pt x="1011759" y="856399"/>
                  </a:lnTo>
                  <a:lnTo>
                    <a:pt x="1013855" y="832310"/>
                  </a:lnTo>
                  <a:lnTo>
                    <a:pt x="1009655" y="808635"/>
                  </a:lnTo>
                  <a:lnTo>
                    <a:pt x="1037408" y="807358"/>
                  </a:lnTo>
                  <a:lnTo>
                    <a:pt x="1089757" y="786726"/>
                  </a:lnTo>
                  <a:lnTo>
                    <a:pt x="1138892" y="724284"/>
                  </a:lnTo>
                  <a:lnTo>
                    <a:pt x="1146961" y="676290"/>
                  </a:lnTo>
                  <a:lnTo>
                    <a:pt x="1136545" y="629196"/>
                  </a:lnTo>
                  <a:lnTo>
                    <a:pt x="1107798" y="588746"/>
                  </a:lnTo>
                  <a:lnTo>
                    <a:pt x="1077041" y="567888"/>
                  </a:lnTo>
                  <a:lnTo>
                    <a:pt x="1042605" y="557433"/>
                  </a:lnTo>
                  <a:lnTo>
                    <a:pt x="1006809" y="557226"/>
                  </a:lnTo>
                  <a:lnTo>
                    <a:pt x="971970" y="567113"/>
                  </a:lnTo>
                  <a:lnTo>
                    <a:pt x="954886" y="522396"/>
                  </a:lnTo>
                  <a:lnTo>
                    <a:pt x="930048" y="482484"/>
                  </a:lnTo>
                  <a:lnTo>
                    <a:pt x="898435" y="448327"/>
                  </a:lnTo>
                  <a:lnTo>
                    <a:pt x="861031" y="420873"/>
                  </a:lnTo>
                  <a:lnTo>
                    <a:pt x="818816" y="401068"/>
                  </a:lnTo>
                  <a:lnTo>
                    <a:pt x="772772" y="389862"/>
                  </a:lnTo>
                  <a:lnTo>
                    <a:pt x="792486" y="356423"/>
                  </a:lnTo>
                  <a:lnTo>
                    <a:pt x="806940" y="319859"/>
                  </a:lnTo>
                  <a:lnTo>
                    <a:pt x="815560" y="280711"/>
                  </a:lnTo>
                  <a:lnTo>
                    <a:pt x="817776" y="239521"/>
                  </a:lnTo>
                  <a:lnTo>
                    <a:pt x="811497" y="190017"/>
                  </a:lnTo>
                  <a:lnTo>
                    <a:pt x="796187" y="144176"/>
                  </a:lnTo>
                  <a:lnTo>
                    <a:pt x="772841" y="102962"/>
                  </a:lnTo>
                  <a:lnTo>
                    <a:pt x="742449" y="67336"/>
                  </a:lnTo>
                  <a:lnTo>
                    <a:pt x="706006" y="38264"/>
                  </a:lnTo>
                  <a:lnTo>
                    <a:pt x="664502" y="16709"/>
                  </a:lnTo>
                  <a:lnTo>
                    <a:pt x="618931" y="3633"/>
                  </a:lnTo>
                  <a:lnTo>
                    <a:pt x="570286" y="0"/>
                  </a:lnTo>
                  <a:close/>
                </a:path>
              </a:pathLst>
            </a:custGeom>
            <a:solidFill>
              <a:srgbClr val="79B65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1" name="object 157">
              <a:extLst>
                <a:ext uri="{FF2B5EF4-FFF2-40B4-BE49-F238E27FC236}">
                  <a16:creationId xmlns:a16="http://schemas.microsoft.com/office/drawing/2014/main" id="{B05D16B8-D4C1-444D-9344-35ED2C921631}"/>
                </a:ext>
              </a:extLst>
            </p:cNvPr>
            <p:cNvSpPr/>
            <p:nvPr/>
          </p:nvSpPr>
          <p:spPr>
            <a:xfrm>
              <a:off x="16139199" y="9018034"/>
              <a:ext cx="776605" cy="423545"/>
            </a:xfrm>
            <a:custGeom>
              <a:avLst/>
              <a:gdLst/>
              <a:ahLst/>
              <a:cxnLst/>
              <a:rect l="l" t="t" r="r" b="b"/>
              <a:pathLst>
                <a:path w="776605" h="423545">
                  <a:moveTo>
                    <a:pt x="776135" y="182981"/>
                  </a:moveTo>
                  <a:lnTo>
                    <a:pt x="747026" y="208572"/>
                  </a:lnTo>
                  <a:lnTo>
                    <a:pt x="703643" y="240855"/>
                  </a:lnTo>
                  <a:lnTo>
                    <a:pt x="655853" y="274726"/>
                  </a:lnTo>
                  <a:lnTo>
                    <a:pt x="613600" y="305117"/>
                  </a:lnTo>
                  <a:lnTo>
                    <a:pt x="586752" y="326936"/>
                  </a:lnTo>
                  <a:lnTo>
                    <a:pt x="583831" y="310210"/>
                  </a:lnTo>
                  <a:lnTo>
                    <a:pt x="589305" y="275971"/>
                  </a:lnTo>
                  <a:lnTo>
                    <a:pt x="597369" y="232410"/>
                  </a:lnTo>
                  <a:lnTo>
                    <a:pt x="602208" y="187706"/>
                  </a:lnTo>
                  <a:lnTo>
                    <a:pt x="567944" y="249377"/>
                  </a:lnTo>
                  <a:lnTo>
                    <a:pt x="552221" y="286473"/>
                  </a:lnTo>
                  <a:lnTo>
                    <a:pt x="551205" y="313905"/>
                  </a:lnTo>
                  <a:lnTo>
                    <a:pt x="561009" y="346557"/>
                  </a:lnTo>
                  <a:lnTo>
                    <a:pt x="537248" y="362699"/>
                  </a:lnTo>
                  <a:lnTo>
                    <a:pt x="508889" y="380250"/>
                  </a:lnTo>
                  <a:lnTo>
                    <a:pt x="479590" y="396976"/>
                  </a:lnTo>
                  <a:lnTo>
                    <a:pt x="452996" y="410603"/>
                  </a:lnTo>
                  <a:lnTo>
                    <a:pt x="448068" y="350393"/>
                  </a:lnTo>
                  <a:lnTo>
                    <a:pt x="443649" y="299466"/>
                  </a:lnTo>
                  <a:lnTo>
                    <a:pt x="439737" y="257073"/>
                  </a:lnTo>
                  <a:lnTo>
                    <a:pt x="436321" y="222427"/>
                  </a:lnTo>
                  <a:lnTo>
                    <a:pt x="446417" y="198323"/>
                  </a:lnTo>
                  <a:lnTo>
                    <a:pt x="471246" y="150126"/>
                  </a:lnTo>
                  <a:lnTo>
                    <a:pt x="524471" y="51142"/>
                  </a:lnTo>
                  <a:lnTo>
                    <a:pt x="532549" y="35229"/>
                  </a:lnTo>
                  <a:lnTo>
                    <a:pt x="504545" y="68516"/>
                  </a:lnTo>
                  <a:lnTo>
                    <a:pt x="481457" y="94526"/>
                  </a:lnTo>
                  <a:lnTo>
                    <a:pt x="459600" y="122364"/>
                  </a:lnTo>
                  <a:lnTo>
                    <a:pt x="435317" y="161099"/>
                  </a:lnTo>
                  <a:lnTo>
                    <a:pt x="424522" y="144411"/>
                  </a:lnTo>
                  <a:lnTo>
                    <a:pt x="411822" y="88099"/>
                  </a:lnTo>
                  <a:lnTo>
                    <a:pt x="401256" y="28003"/>
                  </a:lnTo>
                  <a:lnTo>
                    <a:pt x="396836" y="0"/>
                  </a:lnTo>
                  <a:lnTo>
                    <a:pt x="390931" y="26504"/>
                  </a:lnTo>
                  <a:lnTo>
                    <a:pt x="391693" y="75565"/>
                  </a:lnTo>
                  <a:lnTo>
                    <a:pt x="394157" y="127596"/>
                  </a:lnTo>
                  <a:lnTo>
                    <a:pt x="393319" y="163068"/>
                  </a:lnTo>
                  <a:lnTo>
                    <a:pt x="391020" y="176834"/>
                  </a:lnTo>
                  <a:lnTo>
                    <a:pt x="389229" y="191744"/>
                  </a:lnTo>
                  <a:lnTo>
                    <a:pt x="387807" y="207581"/>
                  </a:lnTo>
                  <a:lnTo>
                    <a:pt x="382943" y="279476"/>
                  </a:lnTo>
                  <a:lnTo>
                    <a:pt x="380555" y="310451"/>
                  </a:lnTo>
                  <a:lnTo>
                    <a:pt x="378167" y="334911"/>
                  </a:lnTo>
                  <a:lnTo>
                    <a:pt x="359092" y="324624"/>
                  </a:lnTo>
                  <a:lnTo>
                    <a:pt x="334581" y="301180"/>
                  </a:lnTo>
                  <a:lnTo>
                    <a:pt x="305206" y="264426"/>
                  </a:lnTo>
                  <a:lnTo>
                    <a:pt x="271551" y="214198"/>
                  </a:lnTo>
                  <a:lnTo>
                    <a:pt x="234213" y="150355"/>
                  </a:lnTo>
                  <a:lnTo>
                    <a:pt x="264490" y="267296"/>
                  </a:lnTo>
                  <a:lnTo>
                    <a:pt x="288772" y="329895"/>
                  </a:lnTo>
                  <a:lnTo>
                    <a:pt x="319836" y="359384"/>
                  </a:lnTo>
                  <a:lnTo>
                    <a:pt x="370433" y="377024"/>
                  </a:lnTo>
                  <a:lnTo>
                    <a:pt x="368884" y="401916"/>
                  </a:lnTo>
                  <a:lnTo>
                    <a:pt x="368833" y="403466"/>
                  </a:lnTo>
                  <a:lnTo>
                    <a:pt x="345782" y="395173"/>
                  </a:lnTo>
                  <a:lnTo>
                    <a:pt x="242671" y="359867"/>
                  </a:lnTo>
                  <a:lnTo>
                    <a:pt x="186944" y="339877"/>
                  </a:lnTo>
                  <a:lnTo>
                    <a:pt x="132080" y="318516"/>
                  </a:lnTo>
                  <a:lnTo>
                    <a:pt x="80810" y="295897"/>
                  </a:lnTo>
                  <a:lnTo>
                    <a:pt x="35877" y="272161"/>
                  </a:lnTo>
                  <a:lnTo>
                    <a:pt x="0" y="247421"/>
                  </a:lnTo>
                  <a:lnTo>
                    <a:pt x="25654" y="301472"/>
                  </a:lnTo>
                  <a:lnTo>
                    <a:pt x="70764" y="337820"/>
                  </a:lnTo>
                  <a:lnTo>
                    <a:pt x="168211" y="372960"/>
                  </a:lnTo>
                  <a:lnTo>
                    <a:pt x="350888" y="423392"/>
                  </a:lnTo>
                  <a:lnTo>
                    <a:pt x="368325" y="423392"/>
                  </a:lnTo>
                  <a:lnTo>
                    <a:pt x="520903" y="423405"/>
                  </a:lnTo>
                  <a:lnTo>
                    <a:pt x="612343" y="346659"/>
                  </a:lnTo>
                  <a:lnTo>
                    <a:pt x="694347" y="268363"/>
                  </a:lnTo>
                  <a:lnTo>
                    <a:pt x="753440" y="207479"/>
                  </a:lnTo>
                  <a:lnTo>
                    <a:pt x="776135" y="182981"/>
                  </a:lnTo>
                  <a:close/>
                </a:path>
              </a:pathLst>
            </a:custGeom>
            <a:solidFill>
              <a:srgbClr val="394852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2" name="object 158">
              <a:extLst>
                <a:ext uri="{FF2B5EF4-FFF2-40B4-BE49-F238E27FC236}">
                  <a16:creationId xmlns:a16="http://schemas.microsoft.com/office/drawing/2014/main" id="{7BEC04D4-5C94-4475-A33C-F8EFB525BDD6}"/>
                </a:ext>
              </a:extLst>
            </p:cNvPr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16488874" y="8520314"/>
              <a:ext cx="147271" cy="89547"/>
            </a:xfrm>
            <a:prstGeom prst="rect">
              <a:avLst/>
            </a:prstGeom>
          </p:spPr>
        </p:pic>
        <p:sp>
          <p:nvSpPr>
            <p:cNvPr id="123" name="object 159">
              <a:extLst>
                <a:ext uri="{FF2B5EF4-FFF2-40B4-BE49-F238E27FC236}">
                  <a16:creationId xmlns:a16="http://schemas.microsoft.com/office/drawing/2014/main" id="{3FED79A0-0C8A-4775-8457-7CF3E0E9B180}"/>
                </a:ext>
              </a:extLst>
            </p:cNvPr>
            <p:cNvSpPr/>
            <p:nvPr/>
          </p:nvSpPr>
          <p:spPr>
            <a:xfrm>
              <a:off x="15986887" y="9020812"/>
              <a:ext cx="1145540" cy="325120"/>
            </a:xfrm>
            <a:custGeom>
              <a:avLst/>
              <a:gdLst/>
              <a:ahLst/>
              <a:cxnLst/>
              <a:rect l="l" t="t" r="r" b="b"/>
              <a:pathLst>
                <a:path w="1145540" h="325120">
                  <a:moveTo>
                    <a:pt x="550867" y="0"/>
                  </a:moveTo>
                  <a:lnTo>
                    <a:pt x="502981" y="11120"/>
                  </a:lnTo>
                  <a:lnTo>
                    <a:pt x="452979" y="32154"/>
                  </a:lnTo>
                  <a:lnTo>
                    <a:pt x="403892" y="58381"/>
                  </a:lnTo>
                  <a:lnTo>
                    <a:pt x="320586" y="107540"/>
                  </a:lnTo>
                  <a:lnTo>
                    <a:pt x="292430" y="121035"/>
                  </a:lnTo>
                  <a:lnTo>
                    <a:pt x="258442" y="134043"/>
                  </a:lnTo>
                  <a:lnTo>
                    <a:pt x="218663" y="148429"/>
                  </a:lnTo>
                  <a:lnTo>
                    <a:pt x="173509" y="158444"/>
                  </a:lnTo>
                  <a:lnTo>
                    <a:pt x="123396" y="158342"/>
                  </a:lnTo>
                  <a:lnTo>
                    <a:pt x="68741" y="142375"/>
                  </a:lnTo>
                  <a:lnTo>
                    <a:pt x="29199" y="118413"/>
                  </a:lnTo>
                  <a:lnTo>
                    <a:pt x="0" y="89968"/>
                  </a:lnTo>
                  <a:lnTo>
                    <a:pt x="9198" y="135931"/>
                  </a:lnTo>
                  <a:lnTo>
                    <a:pt x="26254" y="178290"/>
                  </a:lnTo>
                  <a:lnTo>
                    <a:pt x="50317" y="216210"/>
                  </a:lnTo>
                  <a:lnTo>
                    <a:pt x="80536" y="248861"/>
                  </a:lnTo>
                  <a:lnTo>
                    <a:pt x="116063" y="275409"/>
                  </a:lnTo>
                  <a:lnTo>
                    <a:pt x="156046" y="295021"/>
                  </a:lnTo>
                  <a:lnTo>
                    <a:pt x="199635" y="306865"/>
                  </a:lnTo>
                  <a:lnTo>
                    <a:pt x="245982" y="310108"/>
                  </a:lnTo>
                  <a:lnTo>
                    <a:pt x="276717" y="307221"/>
                  </a:lnTo>
                  <a:lnTo>
                    <a:pt x="306155" y="300488"/>
                  </a:lnTo>
                  <a:lnTo>
                    <a:pt x="334073" y="290185"/>
                  </a:lnTo>
                  <a:lnTo>
                    <a:pt x="360250" y="276591"/>
                  </a:lnTo>
                  <a:lnTo>
                    <a:pt x="362303" y="278716"/>
                  </a:lnTo>
                  <a:lnTo>
                    <a:pt x="363936" y="281051"/>
                  </a:lnTo>
                  <a:lnTo>
                    <a:pt x="366135" y="283062"/>
                  </a:lnTo>
                  <a:lnTo>
                    <a:pt x="406419" y="309759"/>
                  </a:lnTo>
                  <a:lnTo>
                    <a:pt x="451543" y="321998"/>
                  </a:lnTo>
                  <a:lnTo>
                    <a:pt x="497981" y="319929"/>
                  </a:lnTo>
                  <a:lnTo>
                    <a:pt x="542209" y="303703"/>
                  </a:lnTo>
                  <a:lnTo>
                    <a:pt x="580704" y="273470"/>
                  </a:lnTo>
                  <a:lnTo>
                    <a:pt x="607112" y="233817"/>
                  </a:lnTo>
                  <a:lnTo>
                    <a:pt x="638363" y="251676"/>
                  </a:lnTo>
                  <a:lnTo>
                    <a:pt x="672217" y="264683"/>
                  </a:lnTo>
                  <a:lnTo>
                    <a:pt x="708212" y="272384"/>
                  </a:lnTo>
                  <a:lnTo>
                    <a:pt x="745883" y="274329"/>
                  </a:lnTo>
                  <a:lnTo>
                    <a:pt x="768219" y="272605"/>
                  </a:lnTo>
                  <a:lnTo>
                    <a:pt x="789880" y="268816"/>
                  </a:lnTo>
                  <a:lnTo>
                    <a:pt x="810808" y="263103"/>
                  </a:lnTo>
                  <a:lnTo>
                    <a:pt x="830948" y="255607"/>
                  </a:lnTo>
                  <a:lnTo>
                    <a:pt x="834737" y="268059"/>
                  </a:lnTo>
                  <a:lnTo>
                    <a:pt x="856863" y="300998"/>
                  </a:lnTo>
                  <a:lnTo>
                    <a:pt x="922638" y="324835"/>
                  </a:lnTo>
                  <a:lnTo>
                    <a:pt x="957105" y="316430"/>
                  </a:lnTo>
                  <a:lnTo>
                    <a:pt x="987038" y="294737"/>
                  </a:lnTo>
                  <a:lnTo>
                    <a:pt x="1001777" y="273810"/>
                  </a:lnTo>
                  <a:lnTo>
                    <a:pt x="1010185" y="250636"/>
                  </a:lnTo>
                  <a:lnTo>
                    <a:pt x="1012280" y="226547"/>
                  </a:lnTo>
                  <a:lnTo>
                    <a:pt x="1008084" y="202876"/>
                  </a:lnTo>
                  <a:lnTo>
                    <a:pt x="1035837" y="201594"/>
                  </a:lnTo>
                  <a:lnTo>
                    <a:pt x="1088186" y="180965"/>
                  </a:lnTo>
                  <a:lnTo>
                    <a:pt x="1134646" y="125078"/>
                  </a:lnTo>
                  <a:lnTo>
                    <a:pt x="1144925" y="84327"/>
                  </a:lnTo>
                  <a:lnTo>
                    <a:pt x="1141560" y="43030"/>
                  </a:lnTo>
                  <a:lnTo>
                    <a:pt x="1124656" y="4798"/>
                  </a:lnTo>
                  <a:lnTo>
                    <a:pt x="1111668" y="34386"/>
                  </a:lnTo>
                  <a:lnTo>
                    <a:pt x="1096584" y="63897"/>
                  </a:lnTo>
                  <a:lnTo>
                    <a:pt x="1079985" y="89970"/>
                  </a:lnTo>
                  <a:lnTo>
                    <a:pt x="1062449" y="109245"/>
                  </a:lnTo>
                  <a:lnTo>
                    <a:pt x="1029524" y="116698"/>
                  </a:lnTo>
                  <a:lnTo>
                    <a:pt x="995711" y="95097"/>
                  </a:lnTo>
                  <a:lnTo>
                    <a:pt x="961763" y="58747"/>
                  </a:lnTo>
                  <a:lnTo>
                    <a:pt x="928432" y="21949"/>
                  </a:lnTo>
                  <a:lnTo>
                    <a:pt x="899081" y="4943"/>
                  </a:lnTo>
                  <a:lnTo>
                    <a:pt x="872605" y="11775"/>
                  </a:lnTo>
                  <a:lnTo>
                    <a:pt x="843033" y="32396"/>
                  </a:lnTo>
                  <a:lnTo>
                    <a:pt x="804394" y="56754"/>
                  </a:lnTo>
                  <a:lnTo>
                    <a:pt x="768085" y="65728"/>
                  </a:lnTo>
                  <a:lnTo>
                    <a:pt x="730439" y="59547"/>
                  </a:lnTo>
                  <a:lnTo>
                    <a:pt x="689868" y="43554"/>
                  </a:lnTo>
                  <a:lnTo>
                    <a:pt x="644785" y="23094"/>
                  </a:lnTo>
                  <a:lnTo>
                    <a:pt x="593604" y="3510"/>
                  </a:lnTo>
                  <a:lnTo>
                    <a:pt x="550867" y="0"/>
                  </a:lnTo>
                  <a:close/>
                </a:path>
              </a:pathLst>
            </a:custGeom>
            <a:solidFill>
              <a:srgbClr val="1E6424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24" name="object 160">
              <a:extLst>
                <a:ext uri="{FF2B5EF4-FFF2-40B4-BE49-F238E27FC236}">
                  <a16:creationId xmlns:a16="http://schemas.microsoft.com/office/drawing/2014/main" id="{84EF2B65-64DA-4A0E-839C-2B8F87C5605B}"/>
                </a:ext>
              </a:extLst>
            </p:cNvPr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16663674" y="8957199"/>
              <a:ext cx="165889" cy="103064"/>
            </a:xfrm>
            <a:prstGeom prst="rect">
              <a:avLst/>
            </a:prstGeom>
          </p:spPr>
        </p:pic>
        <p:sp>
          <p:nvSpPr>
            <p:cNvPr id="125" name="object 161">
              <a:extLst>
                <a:ext uri="{FF2B5EF4-FFF2-40B4-BE49-F238E27FC236}">
                  <a16:creationId xmlns:a16="http://schemas.microsoft.com/office/drawing/2014/main" id="{08B88CE1-715C-4D82-93FE-3BF542D55FBB}"/>
                </a:ext>
              </a:extLst>
            </p:cNvPr>
            <p:cNvSpPr/>
            <p:nvPr/>
          </p:nvSpPr>
          <p:spPr>
            <a:xfrm>
              <a:off x="16025939" y="8415051"/>
              <a:ext cx="878205" cy="477520"/>
            </a:xfrm>
            <a:custGeom>
              <a:avLst/>
              <a:gdLst/>
              <a:ahLst/>
              <a:cxnLst/>
              <a:rect l="l" t="t" r="r" b="b"/>
              <a:pathLst>
                <a:path w="878205" h="477520">
                  <a:moveTo>
                    <a:pt x="732675" y="103847"/>
                  </a:moveTo>
                  <a:lnTo>
                    <a:pt x="702310" y="67945"/>
                  </a:lnTo>
                  <a:lnTo>
                    <a:pt x="665822" y="38633"/>
                  </a:lnTo>
                  <a:lnTo>
                    <a:pt x="624217" y="16891"/>
                  </a:lnTo>
                  <a:lnTo>
                    <a:pt x="578497" y="3683"/>
                  </a:lnTo>
                  <a:lnTo>
                    <a:pt x="529653" y="0"/>
                  </a:lnTo>
                  <a:lnTo>
                    <a:pt x="483946" y="5753"/>
                  </a:lnTo>
                  <a:lnTo>
                    <a:pt x="441401" y="19786"/>
                  </a:lnTo>
                  <a:lnTo>
                    <a:pt x="402793" y="41275"/>
                  </a:lnTo>
                  <a:lnTo>
                    <a:pt x="368922" y="69342"/>
                  </a:lnTo>
                  <a:lnTo>
                    <a:pt x="340563" y="103136"/>
                  </a:lnTo>
                  <a:lnTo>
                    <a:pt x="318503" y="141795"/>
                  </a:lnTo>
                  <a:lnTo>
                    <a:pt x="303542" y="184480"/>
                  </a:lnTo>
                  <a:lnTo>
                    <a:pt x="296443" y="230314"/>
                  </a:lnTo>
                  <a:lnTo>
                    <a:pt x="275590" y="223710"/>
                  </a:lnTo>
                  <a:lnTo>
                    <a:pt x="254025" y="219024"/>
                  </a:lnTo>
                  <a:lnTo>
                    <a:pt x="231825" y="216357"/>
                  </a:lnTo>
                  <a:lnTo>
                    <a:pt x="209042" y="215861"/>
                  </a:lnTo>
                  <a:lnTo>
                    <a:pt x="155511" y="223545"/>
                  </a:lnTo>
                  <a:lnTo>
                    <a:pt x="106553" y="242544"/>
                  </a:lnTo>
                  <a:lnTo>
                    <a:pt x="63461" y="271449"/>
                  </a:lnTo>
                  <a:lnTo>
                    <a:pt x="27508" y="308864"/>
                  </a:lnTo>
                  <a:lnTo>
                    <a:pt x="0" y="353352"/>
                  </a:lnTo>
                  <a:lnTo>
                    <a:pt x="47688" y="325970"/>
                  </a:lnTo>
                  <a:lnTo>
                    <a:pt x="100025" y="308952"/>
                  </a:lnTo>
                  <a:lnTo>
                    <a:pt x="154533" y="300443"/>
                  </a:lnTo>
                  <a:lnTo>
                    <a:pt x="208749" y="298653"/>
                  </a:lnTo>
                  <a:lnTo>
                    <a:pt x="260197" y="301739"/>
                  </a:lnTo>
                  <a:lnTo>
                    <a:pt x="306387" y="307873"/>
                  </a:lnTo>
                  <a:lnTo>
                    <a:pt x="344868" y="315226"/>
                  </a:lnTo>
                  <a:lnTo>
                    <a:pt x="351231" y="316623"/>
                  </a:lnTo>
                  <a:lnTo>
                    <a:pt x="357784" y="313791"/>
                  </a:lnTo>
                  <a:lnTo>
                    <a:pt x="364464" y="302577"/>
                  </a:lnTo>
                  <a:lnTo>
                    <a:pt x="363867" y="295478"/>
                  </a:lnTo>
                  <a:lnTo>
                    <a:pt x="335216" y="262166"/>
                  </a:lnTo>
                  <a:lnTo>
                    <a:pt x="330758" y="254939"/>
                  </a:lnTo>
                  <a:lnTo>
                    <a:pt x="328790" y="246875"/>
                  </a:lnTo>
                  <a:lnTo>
                    <a:pt x="329349" y="238594"/>
                  </a:lnTo>
                  <a:lnTo>
                    <a:pt x="332498" y="230708"/>
                  </a:lnTo>
                  <a:lnTo>
                    <a:pt x="361073" y="189191"/>
                  </a:lnTo>
                  <a:lnTo>
                    <a:pt x="408978" y="138391"/>
                  </a:lnTo>
                  <a:lnTo>
                    <a:pt x="440258" y="114198"/>
                  </a:lnTo>
                  <a:lnTo>
                    <a:pt x="476478" y="93294"/>
                  </a:lnTo>
                  <a:lnTo>
                    <a:pt x="517664" y="77571"/>
                  </a:lnTo>
                  <a:lnTo>
                    <a:pt x="563841" y="68884"/>
                  </a:lnTo>
                  <a:lnTo>
                    <a:pt x="615048" y="69126"/>
                  </a:lnTo>
                  <a:lnTo>
                    <a:pt x="671309" y="80149"/>
                  </a:lnTo>
                  <a:lnTo>
                    <a:pt x="732675" y="103847"/>
                  </a:lnTo>
                  <a:close/>
                </a:path>
                <a:path w="878205" h="477520">
                  <a:moveTo>
                    <a:pt x="877620" y="468388"/>
                  </a:moveTo>
                  <a:lnTo>
                    <a:pt x="847217" y="439559"/>
                  </a:lnTo>
                  <a:lnTo>
                    <a:pt x="812368" y="416394"/>
                  </a:lnTo>
                  <a:lnTo>
                    <a:pt x="773785" y="399592"/>
                  </a:lnTo>
                  <a:lnTo>
                    <a:pt x="732142" y="389864"/>
                  </a:lnTo>
                  <a:lnTo>
                    <a:pt x="732536" y="389178"/>
                  </a:lnTo>
                  <a:lnTo>
                    <a:pt x="640943" y="408940"/>
                  </a:lnTo>
                  <a:lnTo>
                    <a:pt x="568960" y="438505"/>
                  </a:lnTo>
                  <a:lnTo>
                    <a:pt x="521893" y="465404"/>
                  </a:lnTo>
                  <a:lnTo>
                    <a:pt x="505028" y="477139"/>
                  </a:lnTo>
                  <a:lnTo>
                    <a:pt x="595490" y="451942"/>
                  </a:lnTo>
                  <a:lnTo>
                    <a:pt x="655891" y="440461"/>
                  </a:lnTo>
                  <a:lnTo>
                    <a:pt x="713460" y="439915"/>
                  </a:lnTo>
                  <a:lnTo>
                    <a:pt x="795413" y="447535"/>
                  </a:lnTo>
                  <a:lnTo>
                    <a:pt x="854379" y="460654"/>
                  </a:lnTo>
                  <a:lnTo>
                    <a:pt x="877620" y="468388"/>
                  </a:lnTo>
                  <a:close/>
                </a:path>
              </a:pathLst>
            </a:custGeom>
            <a:solidFill>
              <a:srgbClr val="F8FC86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6" name="object 162">
              <a:extLst>
                <a:ext uri="{FF2B5EF4-FFF2-40B4-BE49-F238E27FC236}">
                  <a16:creationId xmlns:a16="http://schemas.microsoft.com/office/drawing/2014/main" id="{5051F974-A2F6-4D8D-B61D-FDF766712722}"/>
                </a:ext>
              </a:extLst>
            </p:cNvPr>
            <p:cNvSpPr/>
            <p:nvPr/>
          </p:nvSpPr>
          <p:spPr>
            <a:xfrm>
              <a:off x="6505950" y="8459112"/>
              <a:ext cx="824230" cy="893444"/>
            </a:xfrm>
            <a:custGeom>
              <a:avLst/>
              <a:gdLst/>
              <a:ahLst/>
              <a:cxnLst/>
              <a:rect l="l" t="t" r="r" b="b"/>
              <a:pathLst>
                <a:path w="824229" h="893445">
                  <a:moveTo>
                    <a:pt x="409181" y="0"/>
                  </a:moveTo>
                  <a:lnTo>
                    <a:pt x="310775" y="125189"/>
                  </a:lnTo>
                  <a:lnTo>
                    <a:pt x="336314" y="119902"/>
                  </a:lnTo>
                  <a:lnTo>
                    <a:pt x="325634" y="151052"/>
                  </a:lnTo>
                  <a:lnTo>
                    <a:pt x="221385" y="251364"/>
                  </a:lnTo>
                  <a:lnTo>
                    <a:pt x="278839" y="251761"/>
                  </a:lnTo>
                  <a:lnTo>
                    <a:pt x="226642" y="326555"/>
                  </a:lnTo>
                  <a:lnTo>
                    <a:pt x="166005" y="377360"/>
                  </a:lnTo>
                  <a:lnTo>
                    <a:pt x="220276" y="412856"/>
                  </a:lnTo>
                  <a:lnTo>
                    <a:pt x="90510" y="518549"/>
                  </a:lnTo>
                  <a:lnTo>
                    <a:pt x="207491" y="555993"/>
                  </a:lnTo>
                  <a:lnTo>
                    <a:pt x="38941" y="683696"/>
                  </a:lnTo>
                  <a:lnTo>
                    <a:pt x="150026" y="735087"/>
                  </a:lnTo>
                  <a:lnTo>
                    <a:pt x="0" y="848057"/>
                  </a:lnTo>
                  <a:lnTo>
                    <a:pt x="114122" y="847000"/>
                  </a:lnTo>
                  <a:lnTo>
                    <a:pt x="143639" y="860696"/>
                  </a:lnTo>
                  <a:lnTo>
                    <a:pt x="312849" y="893365"/>
                  </a:lnTo>
                  <a:lnTo>
                    <a:pt x="603374" y="873177"/>
                  </a:lnTo>
                  <a:lnTo>
                    <a:pt x="823650" y="807033"/>
                  </a:lnTo>
                  <a:lnTo>
                    <a:pt x="680021" y="763872"/>
                  </a:lnTo>
                  <a:lnTo>
                    <a:pt x="743851" y="735087"/>
                  </a:lnTo>
                  <a:lnTo>
                    <a:pt x="600170" y="588432"/>
                  </a:lnTo>
                  <a:lnTo>
                    <a:pt x="657634" y="577689"/>
                  </a:lnTo>
                  <a:lnTo>
                    <a:pt x="574673" y="431515"/>
                  </a:lnTo>
                  <a:lnTo>
                    <a:pt x="654482" y="401359"/>
                  </a:lnTo>
                  <a:lnTo>
                    <a:pt x="549627" y="311948"/>
                  </a:lnTo>
                  <a:lnTo>
                    <a:pt x="627865" y="287813"/>
                  </a:lnTo>
                  <a:lnTo>
                    <a:pt x="514486" y="222998"/>
                  </a:lnTo>
                  <a:lnTo>
                    <a:pt x="555501" y="205711"/>
                  </a:lnTo>
                  <a:lnTo>
                    <a:pt x="482090" y="128760"/>
                  </a:lnTo>
                  <a:lnTo>
                    <a:pt x="504393" y="102153"/>
                  </a:lnTo>
                  <a:lnTo>
                    <a:pt x="409181" y="0"/>
                  </a:lnTo>
                  <a:close/>
                </a:path>
              </a:pathLst>
            </a:custGeom>
            <a:solidFill>
              <a:srgbClr val="3B8747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7" name="object 163">
              <a:extLst>
                <a:ext uri="{FF2B5EF4-FFF2-40B4-BE49-F238E27FC236}">
                  <a16:creationId xmlns:a16="http://schemas.microsoft.com/office/drawing/2014/main" id="{0B2B0902-8456-47E8-9579-0D5F363FD009}"/>
                </a:ext>
              </a:extLst>
            </p:cNvPr>
            <p:cNvSpPr/>
            <p:nvPr/>
          </p:nvSpPr>
          <p:spPr>
            <a:xfrm>
              <a:off x="6850509" y="9320508"/>
              <a:ext cx="93345" cy="121285"/>
            </a:xfrm>
            <a:custGeom>
              <a:avLst/>
              <a:gdLst/>
              <a:ahLst/>
              <a:cxnLst/>
              <a:rect l="l" t="t" r="r" b="b"/>
              <a:pathLst>
                <a:path w="93345" h="121284">
                  <a:moveTo>
                    <a:pt x="83222" y="0"/>
                  </a:moveTo>
                  <a:lnTo>
                    <a:pt x="19381" y="0"/>
                  </a:lnTo>
                  <a:lnTo>
                    <a:pt x="0" y="120917"/>
                  </a:lnTo>
                  <a:lnTo>
                    <a:pt x="93033" y="120917"/>
                  </a:lnTo>
                  <a:lnTo>
                    <a:pt x="83986" y="53349"/>
                  </a:lnTo>
                  <a:lnTo>
                    <a:pt x="83222" y="0"/>
                  </a:lnTo>
                  <a:close/>
                </a:path>
              </a:pathLst>
            </a:custGeom>
            <a:solidFill>
              <a:srgbClr val="4D392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8" name="object 164">
              <a:extLst>
                <a:ext uri="{FF2B5EF4-FFF2-40B4-BE49-F238E27FC236}">
                  <a16:creationId xmlns:a16="http://schemas.microsoft.com/office/drawing/2014/main" id="{E7CDC796-320E-40F2-A322-D61206A52CB2}"/>
                </a:ext>
              </a:extLst>
            </p:cNvPr>
            <p:cNvSpPr/>
            <p:nvPr/>
          </p:nvSpPr>
          <p:spPr>
            <a:xfrm>
              <a:off x="6645627" y="8470111"/>
              <a:ext cx="684530" cy="882650"/>
            </a:xfrm>
            <a:custGeom>
              <a:avLst/>
              <a:gdLst/>
              <a:ahLst/>
              <a:cxnLst/>
              <a:rect l="l" t="t" r="r" b="b"/>
              <a:pathLst>
                <a:path w="684529" h="882650">
                  <a:moveTo>
                    <a:pt x="276525" y="0"/>
                  </a:moveTo>
                  <a:lnTo>
                    <a:pt x="284912" y="79620"/>
                  </a:lnTo>
                  <a:lnTo>
                    <a:pt x="240233" y="105536"/>
                  </a:lnTo>
                  <a:lnTo>
                    <a:pt x="307247" y="131587"/>
                  </a:lnTo>
                  <a:lnTo>
                    <a:pt x="300880" y="214862"/>
                  </a:lnTo>
                  <a:lnTo>
                    <a:pt x="228506" y="237898"/>
                  </a:lnTo>
                  <a:lnTo>
                    <a:pt x="307247" y="312692"/>
                  </a:lnTo>
                  <a:lnTo>
                    <a:pt x="251374" y="420521"/>
                  </a:lnTo>
                  <a:lnTo>
                    <a:pt x="407306" y="518036"/>
                  </a:lnTo>
                  <a:lnTo>
                    <a:pt x="377150" y="548538"/>
                  </a:lnTo>
                  <a:lnTo>
                    <a:pt x="252735" y="586935"/>
                  </a:lnTo>
                  <a:lnTo>
                    <a:pt x="342000" y="707182"/>
                  </a:lnTo>
                  <a:lnTo>
                    <a:pt x="434991" y="768929"/>
                  </a:lnTo>
                  <a:lnTo>
                    <a:pt x="0" y="848591"/>
                  </a:lnTo>
                  <a:lnTo>
                    <a:pt x="3957" y="849701"/>
                  </a:lnTo>
                  <a:lnTo>
                    <a:pt x="173167" y="882360"/>
                  </a:lnTo>
                  <a:lnTo>
                    <a:pt x="463703" y="862172"/>
                  </a:lnTo>
                  <a:lnTo>
                    <a:pt x="683979" y="796038"/>
                  </a:lnTo>
                  <a:lnTo>
                    <a:pt x="540339" y="752867"/>
                  </a:lnTo>
                  <a:lnTo>
                    <a:pt x="604170" y="724093"/>
                  </a:lnTo>
                  <a:lnTo>
                    <a:pt x="460499" y="577437"/>
                  </a:lnTo>
                  <a:lnTo>
                    <a:pt x="517973" y="566694"/>
                  </a:lnTo>
                  <a:lnTo>
                    <a:pt x="434991" y="420521"/>
                  </a:lnTo>
                  <a:lnTo>
                    <a:pt x="495388" y="397715"/>
                  </a:lnTo>
                  <a:lnTo>
                    <a:pt x="409956" y="300954"/>
                  </a:lnTo>
                  <a:lnTo>
                    <a:pt x="423369" y="276808"/>
                  </a:lnTo>
                  <a:lnTo>
                    <a:pt x="374805" y="211993"/>
                  </a:lnTo>
                  <a:lnTo>
                    <a:pt x="415819" y="194716"/>
                  </a:lnTo>
                  <a:lnTo>
                    <a:pt x="342408" y="117755"/>
                  </a:lnTo>
                  <a:lnTo>
                    <a:pt x="364711" y="91159"/>
                  </a:lnTo>
                  <a:lnTo>
                    <a:pt x="276525" y="0"/>
                  </a:lnTo>
                  <a:close/>
                </a:path>
              </a:pathLst>
            </a:custGeom>
            <a:solidFill>
              <a:srgbClr val="334F2C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9" name="object 165">
              <a:extLst>
                <a:ext uri="{FF2B5EF4-FFF2-40B4-BE49-F238E27FC236}">
                  <a16:creationId xmlns:a16="http://schemas.microsoft.com/office/drawing/2014/main" id="{6CAA6F08-4B00-4C84-B97B-06926A66EF46}"/>
                </a:ext>
              </a:extLst>
            </p:cNvPr>
            <p:cNvSpPr/>
            <p:nvPr/>
          </p:nvSpPr>
          <p:spPr>
            <a:xfrm>
              <a:off x="6505956" y="8459108"/>
              <a:ext cx="409575" cy="848360"/>
            </a:xfrm>
            <a:custGeom>
              <a:avLst/>
              <a:gdLst/>
              <a:ahLst/>
              <a:cxnLst/>
              <a:rect l="l" t="t" r="r" b="b"/>
              <a:pathLst>
                <a:path w="409575" h="848359">
                  <a:moveTo>
                    <a:pt x="278269" y="423303"/>
                  </a:moveTo>
                  <a:lnTo>
                    <a:pt x="220268" y="412864"/>
                  </a:lnTo>
                  <a:lnTo>
                    <a:pt x="90487" y="518566"/>
                  </a:lnTo>
                  <a:lnTo>
                    <a:pt x="207479" y="556006"/>
                  </a:lnTo>
                  <a:lnTo>
                    <a:pt x="278269" y="423303"/>
                  </a:lnTo>
                  <a:close/>
                </a:path>
                <a:path w="409575" h="848359">
                  <a:moveTo>
                    <a:pt x="297154" y="743737"/>
                  </a:moveTo>
                  <a:lnTo>
                    <a:pt x="150012" y="735101"/>
                  </a:lnTo>
                  <a:lnTo>
                    <a:pt x="0" y="848067"/>
                  </a:lnTo>
                  <a:lnTo>
                    <a:pt x="297154" y="743737"/>
                  </a:lnTo>
                  <a:close/>
                </a:path>
                <a:path w="409575" h="848359">
                  <a:moveTo>
                    <a:pt x="342633" y="287820"/>
                  </a:moveTo>
                  <a:lnTo>
                    <a:pt x="256209" y="284200"/>
                  </a:lnTo>
                  <a:lnTo>
                    <a:pt x="226644" y="326567"/>
                  </a:lnTo>
                  <a:lnTo>
                    <a:pt x="166001" y="377367"/>
                  </a:lnTo>
                  <a:lnTo>
                    <a:pt x="187210" y="391248"/>
                  </a:lnTo>
                  <a:lnTo>
                    <a:pt x="342633" y="287820"/>
                  </a:lnTo>
                  <a:close/>
                </a:path>
                <a:path w="409575" h="848359">
                  <a:moveTo>
                    <a:pt x="372935" y="144030"/>
                  </a:moveTo>
                  <a:lnTo>
                    <a:pt x="328041" y="144030"/>
                  </a:lnTo>
                  <a:lnTo>
                    <a:pt x="325628" y="151066"/>
                  </a:lnTo>
                  <a:lnTo>
                    <a:pt x="221373" y="251371"/>
                  </a:lnTo>
                  <a:lnTo>
                    <a:pt x="238772" y="251510"/>
                  </a:lnTo>
                  <a:lnTo>
                    <a:pt x="372935" y="144030"/>
                  </a:lnTo>
                  <a:close/>
                </a:path>
                <a:path w="409575" h="848359">
                  <a:moveTo>
                    <a:pt x="392391" y="597954"/>
                  </a:moveTo>
                  <a:lnTo>
                    <a:pt x="238772" y="584111"/>
                  </a:lnTo>
                  <a:lnTo>
                    <a:pt x="207479" y="556006"/>
                  </a:lnTo>
                  <a:lnTo>
                    <a:pt x="38925" y="683704"/>
                  </a:lnTo>
                  <a:lnTo>
                    <a:pt x="392391" y="597954"/>
                  </a:lnTo>
                  <a:close/>
                </a:path>
                <a:path w="409575" h="848359">
                  <a:moveTo>
                    <a:pt x="409168" y="0"/>
                  </a:moveTo>
                  <a:lnTo>
                    <a:pt x="310756" y="125196"/>
                  </a:lnTo>
                  <a:lnTo>
                    <a:pt x="326986" y="121831"/>
                  </a:lnTo>
                  <a:lnTo>
                    <a:pt x="380961" y="78867"/>
                  </a:lnTo>
                  <a:lnTo>
                    <a:pt x="409168" y="0"/>
                  </a:lnTo>
                  <a:close/>
                </a:path>
              </a:pathLst>
            </a:custGeom>
            <a:solidFill>
              <a:srgbClr val="F8FC6E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0" name="object 166">
              <a:extLst>
                <a:ext uri="{FF2B5EF4-FFF2-40B4-BE49-F238E27FC236}">
                  <a16:creationId xmlns:a16="http://schemas.microsoft.com/office/drawing/2014/main" id="{8F8F6023-4D86-4047-B1DF-992E72EE1868}"/>
                </a:ext>
              </a:extLst>
            </p:cNvPr>
            <p:cNvSpPr/>
            <p:nvPr/>
          </p:nvSpPr>
          <p:spPr>
            <a:xfrm>
              <a:off x="6850507" y="9320508"/>
              <a:ext cx="28575" cy="121285"/>
            </a:xfrm>
            <a:custGeom>
              <a:avLst/>
              <a:gdLst/>
              <a:ahLst/>
              <a:cxnLst/>
              <a:rect l="l" t="t" r="r" b="b"/>
              <a:pathLst>
                <a:path w="28575" h="121284">
                  <a:moveTo>
                    <a:pt x="28397" y="0"/>
                  </a:moveTo>
                  <a:lnTo>
                    <a:pt x="19381" y="0"/>
                  </a:lnTo>
                  <a:lnTo>
                    <a:pt x="0" y="120917"/>
                  </a:lnTo>
                  <a:lnTo>
                    <a:pt x="19140" y="120917"/>
                  </a:lnTo>
                  <a:lnTo>
                    <a:pt x="28397" y="0"/>
                  </a:lnTo>
                  <a:close/>
                </a:path>
              </a:pathLst>
            </a:custGeom>
            <a:solidFill>
              <a:srgbClr val="BD6C2B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1" name="object 167">
              <a:extLst>
                <a:ext uri="{FF2B5EF4-FFF2-40B4-BE49-F238E27FC236}">
                  <a16:creationId xmlns:a16="http://schemas.microsoft.com/office/drawing/2014/main" id="{4FB08460-9E8F-4CD5-BEE7-99869DF68AE7}"/>
                </a:ext>
              </a:extLst>
            </p:cNvPr>
            <p:cNvSpPr/>
            <p:nvPr/>
          </p:nvSpPr>
          <p:spPr>
            <a:xfrm>
              <a:off x="6689268" y="8542470"/>
              <a:ext cx="387985" cy="742315"/>
            </a:xfrm>
            <a:custGeom>
              <a:avLst/>
              <a:gdLst/>
              <a:ahLst/>
              <a:cxnLst/>
              <a:rect l="l" t="t" r="r" b="b"/>
              <a:pathLst>
                <a:path w="387984" h="742315">
                  <a:moveTo>
                    <a:pt x="57759" y="636143"/>
                  </a:moveTo>
                  <a:lnTo>
                    <a:pt x="18923" y="602208"/>
                  </a:lnTo>
                  <a:lnTo>
                    <a:pt x="0" y="627151"/>
                  </a:lnTo>
                  <a:lnTo>
                    <a:pt x="57759" y="636143"/>
                  </a:lnTo>
                  <a:close/>
                </a:path>
                <a:path w="387984" h="742315">
                  <a:moveTo>
                    <a:pt x="82054" y="708215"/>
                  </a:moveTo>
                  <a:lnTo>
                    <a:pt x="28867" y="742111"/>
                  </a:lnTo>
                  <a:lnTo>
                    <a:pt x="60794" y="742111"/>
                  </a:lnTo>
                  <a:lnTo>
                    <a:pt x="82054" y="708215"/>
                  </a:lnTo>
                  <a:close/>
                </a:path>
                <a:path w="387984" h="742315">
                  <a:moveTo>
                    <a:pt x="94945" y="414705"/>
                  </a:moveTo>
                  <a:lnTo>
                    <a:pt x="55473" y="445681"/>
                  </a:lnTo>
                  <a:lnTo>
                    <a:pt x="94945" y="445681"/>
                  </a:lnTo>
                  <a:lnTo>
                    <a:pt x="94945" y="414705"/>
                  </a:lnTo>
                  <a:close/>
                </a:path>
                <a:path w="387984" h="742315">
                  <a:moveTo>
                    <a:pt x="112420" y="294449"/>
                  </a:moveTo>
                  <a:lnTo>
                    <a:pt x="77533" y="321348"/>
                  </a:lnTo>
                  <a:lnTo>
                    <a:pt x="112420" y="317677"/>
                  </a:lnTo>
                  <a:lnTo>
                    <a:pt x="112420" y="294449"/>
                  </a:lnTo>
                  <a:close/>
                </a:path>
                <a:path w="387984" h="742315">
                  <a:moveTo>
                    <a:pt x="146875" y="159194"/>
                  </a:moveTo>
                  <a:lnTo>
                    <a:pt x="108051" y="159194"/>
                  </a:lnTo>
                  <a:lnTo>
                    <a:pt x="126098" y="177076"/>
                  </a:lnTo>
                  <a:lnTo>
                    <a:pt x="146875" y="159194"/>
                  </a:lnTo>
                  <a:close/>
                </a:path>
                <a:path w="387984" h="742315">
                  <a:moveTo>
                    <a:pt x="184518" y="146342"/>
                  </a:moveTo>
                  <a:lnTo>
                    <a:pt x="166408" y="134188"/>
                  </a:lnTo>
                  <a:lnTo>
                    <a:pt x="166408" y="158496"/>
                  </a:lnTo>
                  <a:lnTo>
                    <a:pt x="184518" y="146342"/>
                  </a:lnTo>
                  <a:close/>
                </a:path>
                <a:path w="387984" h="742315">
                  <a:moveTo>
                    <a:pt x="197078" y="461530"/>
                  </a:moveTo>
                  <a:lnTo>
                    <a:pt x="153822" y="443649"/>
                  </a:lnTo>
                  <a:lnTo>
                    <a:pt x="162344" y="470484"/>
                  </a:lnTo>
                  <a:lnTo>
                    <a:pt x="197078" y="461530"/>
                  </a:lnTo>
                  <a:close/>
                </a:path>
                <a:path w="387984" h="742315">
                  <a:moveTo>
                    <a:pt x="288696" y="0"/>
                  </a:moveTo>
                  <a:lnTo>
                    <a:pt x="249212" y="30949"/>
                  </a:lnTo>
                  <a:lnTo>
                    <a:pt x="288696" y="30949"/>
                  </a:lnTo>
                  <a:lnTo>
                    <a:pt x="288696" y="0"/>
                  </a:lnTo>
                  <a:close/>
                </a:path>
                <a:path w="387984" h="742315">
                  <a:moveTo>
                    <a:pt x="294119" y="281000"/>
                  </a:moveTo>
                  <a:lnTo>
                    <a:pt x="259334" y="307886"/>
                  </a:lnTo>
                  <a:lnTo>
                    <a:pt x="294119" y="304253"/>
                  </a:lnTo>
                  <a:lnTo>
                    <a:pt x="294119" y="281000"/>
                  </a:lnTo>
                  <a:close/>
                </a:path>
                <a:path w="387984" h="742315">
                  <a:moveTo>
                    <a:pt x="387667" y="364883"/>
                  </a:moveTo>
                  <a:lnTo>
                    <a:pt x="348157" y="395833"/>
                  </a:lnTo>
                  <a:lnTo>
                    <a:pt x="387667" y="395833"/>
                  </a:lnTo>
                  <a:lnTo>
                    <a:pt x="387667" y="364883"/>
                  </a:lnTo>
                  <a:close/>
                </a:path>
              </a:pathLst>
            </a:custGeom>
            <a:solidFill>
              <a:srgbClr val="F8FC6E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2" name="object 168">
              <a:extLst>
                <a:ext uri="{FF2B5EF4-FFF2-40B4-BE49-F238E27FC236}">
                  <a16:creationId xmlns:a16="http://schemas.microsoft.com/office/drawing/2014/main" id="{812EB566-DCD7-4D90-8FD0-E30C4B2D70DD}"/>
                </a:ext>
              </a:extLst>
            </p:cNvPr>
            <p:cNvSpPr/>
            <p:nvPr/>
          </p:nvSpPr>
          <p:spPr>
            <a:xfrm>
              <a:off x="6944398" y="8614898"/>
              <a:ext cx="247015" cy="698500"/>
            </a:xfrm>
            <a:custGeom>
              <a:avLst/>
              <a:gdLst/>
              <a:ahLst/>
              <a:cxnLst/>
              <a:rect l="l" t="t" r="r" b="b"/>
              <a:pathLst>
                <a:path w="247015" h="698500">
                  <a:moveTo>
                    <a:pt x="43218" y="287642"/>
                  </a:moveTo>
                  <a:lnTo>
                    <a:pt x="0" y="275729"/>
                  </a:lnTo>
                  <a:lnTo>
                    <a:pt x="8483" y="307936"/>
                  </a:lnTo>
                  <a:lnTo>
                    <a:pt x="43218" y="287642"/>
                  </a:lnTo>
                  <a:close/>
                </a:path>
                <a:path w="247015" h="698500">
                  <a:moveTo>
                    <a:pt x="52120" y="464058"/>
                  </a:moveTo>
                  <a:lnTo>
                    <a:pt x="13830" y="464058"/>
                  </a:lnTo>
                  <a:lnTo>
                    <a:pt x="52120" y="487565"/>
                  </a:lnTo>
                  <a:lnTo>
                    <a:pt x="52120" y="464058"/>
                  </a:lnTo>
                  <a:close/>
                </a:path>
                <a:path w="247015" h="698500">
                  <a:moveTo>
                    <a:pt x="76212" y="11887"/>
                  </a:moveTo>
                  <a:lnTo>
                    <a:pt x="32956" y="0"/>
                  </a:lnTo>
                  <a:lnTo>
                    <a:pt x="41465" y="32207"/>
                  </a:lnTo>
                  <a:lnTo>
                    <a:pt x="76212" y="11887"/>
                  </a:lnTo>
                  <a:close/>
                </a:path>
                <a:path w="247015" h="698500">
                  <a:moveTo>
                    <a:pt x="77317" y="181940"/>
                  </a:moveTo>
                  <a:lnTo>
                    <a:pt x="54559" y="181940"/>
                  </a:lnTo>
                  <a:lnTo>
                    <a:pt x="77317" y="203733"/>
                  </a:lnTo>
                  <a:lnTo>
                    <a:pt x="77317" y="181940"/>
                  </a:lnTo>
                  <a:close/>
                </a:path>
                <a:path w="247015" h="698500">
                  <a:moveTo>
                    <a:pt x="131927" y="674890"/>
                  </a:moveTo>
                  <a:lnTo>
                    <a:pt x="93599" y="674890"/>
                  </a:lnTo>
                  <a:lnTo>
                    <a:pt x="131927" y="698385"/>
                  </a:lnTo>
                  <a:lnTo>
                    <a:pt x="131927" y="674890"/>
                  </a:lnTo>
                  <a:close/>
                </a:path>
                <a:path w="247015" h="698500">
                  <a:moveTo>
                    <a:pt x="136220" y="400215"/>
                  </a:moveTo>
                  <a:lnTo>
                    <a:pt x="89344" y="412026"/>
                  </a:lnTo>
                  <a:lnTo>
                    <a:pt x="136220" y="430530"/>
                  </a:lnTo>
                  <a:lnTo>
                    <a:pt x="136220" y="400215"/>
                  </a:lnTo>
                  <a:close/>
                </a:path>
                <a:path w="247015" h="698500">
                  <a:moveTo>
                    <a:pt x="246875" y="576643"/>
                  </a:moveTo>
                  <a:lnTo>
                    <a:pt x="208597" y="576643"/>
                  </a:lnTo>
                  <a:lnTo>
                    <a:pt x="246875" y="600163"/>
                  </a:lnTo>
                  <a:lnTo>
                    <a:pt x="246875" y="576643"/>
                  </a:lnTo>
                  <a:close/>
                </a:path>
              </a:pathLst>
            </a:custGeom>
            <a:solidFill>
              <a:srgbClr val="334F2C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3" name="object 169">
              <a:extLst>
                <a:ext uri="{FF2B5EF4-FFF2-40B4-BE49-F238E27FC236}">
                  <a16:creationId xmlns:a16="http://schemas.microsoft.com/office/drawing/2014/main" id="{BBDC9B3E-8613-4C07-8409-61B79ED24504}"/>
                </a:ext>
              </a:extLst>
            </p:cNvPr>
            <p:cNvSpPr/>
            <p:nvPr/>
          </p:nvSpPr>
          <p:spPr>
            <a:xfrm>
              <a:off x="3105866" y="8577523"/>
              <a:ext cx="688340" cy="648335"/>
            </a:xfrm>
            <a:custGeom>
              <a:avLst/>
              <a:gdLst/>
              <a:ahLst/>
              <a:cxnLst/>
              <a:rect l="l" t="t" r="r" b="b"/>
              <a:pathLst>
                <a:path w="688339" h="648334">
                  <a:moveTo>
                    <a:pt x="415987" y="0"/>
                  </a:moveTo>
                  <a:lnTo>
                    <a:pt x="369764" y="8533"/>
                  </a:lnTo>
                  <a:lnTo>
                    <a:pt x="329535" y="29913"/>
                  </a:lnTo>
                  <a:lnTo>
                    <a:pt x="297374" y="61882"/>
                  </a:lnTo>
                  <a:lnTo>
                    <a:pt x="275361" y="102181"/>
                  </a:lnTo>
                  <a:lnTo>
                    <a:pt x="265573" y="148550"/>
                  </a:lnTo>
                  <a:lnTo>
                    <a:pt x="252120" y="144302"/>
                  </a:lnTo>
                  <a:lnTo>
                    <a:pt x="238211" y="141278"/>
                  </a:lnTo>
                  <a:lnTo>
                    <a:pt x="223891" y="139565"/>
                  </a:lnTo>
                  <a:lnTo>
                    <a:pt x="209208" y="139252"/>
                  </a:lnTo>
                  <a:lnTo>
                    <a:pt x="161663" y="148264"/>
                  </a:lnTo>
                  <a:lnTo>
                    <a:pt x="120570" y="170851"/>
                  </a:lnTo>
                  <a:lnTo>
                    <a:pt x="88193" y="204537"/>
                  </a:lnTo>
                  <a:lnTo>
                    <a:pt x="66797" y="246848"/>
                  </a:lnTo>
                  <a:lnTo>
                    <a:pt x="58647" y="295310"/>
                  </a:lnTo>
                  <a:lnTo>
                    <a:pt x="34658" y="314670"/>
                  </a:lnTo>
                  <a:lnTo>
                    <a:pt x="16146" y="339390"/>
                  </a:lnTo>
                  <a:lnTo>
                    <a:pt x="4222" y="368386"/>
                  </a:lnTo>
                  <a:lnTo>
                    <a:pt x="0" y="400574"/>
                  </a:lnTo>
                  <a:lnTo>
                    <a:pt x="3568" y="430215"/>
                  </a:lnTo>
                  <a:lnTo>
                    <a:pt x="13698" y="457247"/>
                  </a:lnTo>
                  <a:lnTo>
                    <a:pt x="29525" y="480832"/>
                  </a:lnTo>
                  <a:lnTo>
                    <a:pt x="50186" y="500131"/>
                  </a:lnTo>
                  <a:lnTo>
                    <a:pt x="43914" y="508212"/>
                  </a:lnTo>
                  <a:lnTo>
                    <a:pt x="39182" y="517366"/>
                  </a:lnTo>
                  <a:lnTo>
                    <a:pt x="36192" y="527407"/>
                  </a:lnTo>
                  <a:lnTo>
                    <a:pt x="35150" y="538151"/>
                  </a:lnTo>
                  <a:lnTo>
                    <a:pt x="39540" y="559926"/>
                  </a:lnTo>
                  <a:lnTo>
                    <a:pt x="51508" y="577706"/>
                  </a:lnTo>
                  <a:lnTo>
                    <a:pt x="69253" y="589691"/>
                  </a:lnTo>
                  <a:lnTo>
                    <a:pt x="90971" y="594086"/>
                  </a:lnTo>
                  <a:lnTo>
                    <a:pt x="103508" y="592660"/>
                  </a:lnTo>
                  <a:lnTo>
                    <a:pt x="115033" y="588598"/>
                  </a:lnTo>
                  <a:lnTo>
                    <a:pt x="125238" y="582225"/>
                  </a:lnTo>
                  <a:lnTo>
                    <a:pt x="133817" y="573867"/>
                  </a:lnTo>
                  <a:lnTo>
                    <a:pt x="151007" y="581431"/>
                  </a:lnTo>
                  <a:lnTo>
                    <a:pt x="169174" y="586865"/>
                  </a:lnTo>
                  <a:lnTo>
                    <a:pt x="188159" y="590012"/>
                  </a:lnTo>
                  <a:lnTo>
                    <a:pt x="207805" y="590714"/>
                  </a:lnTo>
                  <a:lnTo>
                    <a:pt x="236050" y="587270"/>
                  </a:lnTo>
                  <a:lnTo>
                    <a:pt x="262430" y="578873"/>
                  </a:lnTo>
                  <a:lnTo>
                    <a:pt x="286507" y="566026"/>
                  </a:lnTo>
                  <a:lnTo>
                    <a:pt x="307844" y="549229"/>
                  </a:lnTo>
                  <a:lnTo>
                    <a:pt x="327847" y="558522"/>
                  </a:lnTo>
                  <a:lnTo>
                    <a:pt x="348709" y="563105"/>
                  </a:lnTo>
                  <a:lnTo>
                    <a:pt x="369684" y="563138"/>
                  </a:lnTo>
                  <a:lnTo>
                    <a:pt x="390030" y="558778"/>
                  </a:lnTo>
                  <a:lnTo>
                    <a:pt x="406858" y="594438"/>
                  </a:lnTo>
                  <a:lnTo>
                    <a:pt x="433591" y="622679"/>
                  </a:lnTo>
                  <a:lnTo>
                    <a:pt x="468032" y="641266"/>
                  </a:lnTo>
                  <a:lnTo>
                    <a:pt x="507984" y="647959"/>
                  </a:lnTo>
                  <a:lnTo>
                    <a:pt x="552505" y="639587"/>
                  </a:lnTo>
                  <a:lnTo>
                    <a:pt x="589737" y="616576"/>
                  </a:lnTo>
                  <a:lnTo>
                    <a:pt x="616565" y="582082"/>
                  </a:lnTo>
                  <a:lnTo>
                    <a:pt x="629876" y="539261"/>
                  </a:lnTo>
                  <a:lnTo>
                    <a:pt x="640927" y="536973"/>
                  </a:lnTo>
                  <a:lnTo>
                    <a:pt x="682571" y="500167"/>
                  </a:lnTo>
                  <a:lnTo>
                    <a:pt x="687859" y="479588"/>
                  </a:lnTo>
                  <a:lnTo>
                    <a:pt x="686333" y="458698"/>
                  </a:lnTo>
                  <a:lnTo>
                    <a:pt x="678052" y="439285"/>
                  </a:lnTo>
                  <a:lnTo>
                    <a:pt x="679455" y="430755"/>
                  </a:lnTo>
                  <a:lnTo>
                    <a:pt x="680421" y="422098"/>
                  </a:lnTo>
                  <a:lnTo>
                    <a:pt x="680921" y="413318"/>
                  </a:lnTo>
                  <a:lnTo>
                    <a:pt x="680921" y="404417"/>
                  </a:lnTo>
                  <a:lnTo>
                    <a:pt x="673231" y="359276"/>
                  </a:lnTo>
                  <a:lnTo>
                    <a:pt x="654095" y="319597"/>
                  </a:lnTo>
                  <a:lnTo>
                    <a:pt x="625417" y="287202"/>
                  </a:lnTo>
                  <a:lnTo>
                    <a:pt x="589104" y="263913"/>
                  </a:lnTo>
                  <a:lnTo>
                    <a:pt x="547061" y="251552"/>
                  </a:lnTo>
                  <a:lnTo>
                    <a:pt x="546800" y="251018"/>
                  </a:lnTo>
                  <a:lnTo>
                    <a:pt x="559406" y="229529"/>
                  </a:lnTo>
                  <a:lnTo>
                    <a:pt x="568650" y="206057"/>
                  </a:lnTo>
                  <a:lnTo>
                    <a:pt x="574167" y="180939"/>
                  </a:lnTo>
                  <a:lnTo>
                    <a:pt x="575595" y="154508"/>
                  </a:lnTo>
                  <a:lnTo>
                    <a:pt x="566274" y="104512"/>
                  </a:lnTo>
                  <a:lnTo>
                    <a:pt x="543028" y="61518"/>
                  </a:lnTo>
                  <a:lnTo>
                    <a:pt x="508481" y="28071"/>
                  </a:lnTo>
                  <a:lnTo>
                    <a:pt x="465259" y="6716"/>
                  </a:lnTo>
                  <a:lnTo>
                    <a:pt x="415987" y="0"/>
                  </a:lnTo>
                  <a:close/>
                </a:path>
              </a:pathLst>
            </a:custGeom>
            <a:solidFill>
              <a:srgbClr val="91B63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4" name="object 170">
              <a:extLst>
                <a:ext uri="{FF2B5EF4-FFF2-40B4-BE49-F238E27FC236}">
                  <a16:creationId xmlns:a16="http://schemas.microsoft.com/office/drawing/2014/main" id="{BCEEDBEB-DFE6-476E-8450-A2541ABD4F6C}"/>
                </a:ext>
              </a:extLst>
            </p:cNvPr>
            <p:cNvSpPr/>
            <p:nvPr/>
          </p:nvSpPr>
          <p:spPr>
            <a:xfrm>
              <a:off x="3248742" y="8958833"/>
              <a:ext cx="396875" cy="482600"/>
            </a:xfrm>
            <a:custGeom>
              <a:avLst/>
              <a:gdLst/>
              <a:ahLst/>
              <a:cxnLst/>
              <a:rect l="l" t="t" r="r" b="b"/>
              <a:pathLst>
                <a:path w="396875" h="482600">
                  <a:moveTo>
                    <a:pt x="202852" y="0"/>
                  </a:moveTo>
                  <a:lnTo>
                    <a:pt x="199814" y="16047"/>
                  </a:lnTo>
                  <a:lnTo>
                    <a:pt x="200199" y="45730"/>
                  </a:lnTo>
                  <a:lnTo>
                    <a:pt x="201458" y="77217"/>
                  </a:lnTo>
                  <a:lnTo>
                    <a:pt x="201040" y="98677"/>
                  </a:lnTo>
                  <a:lnTo>
                    <a:pt x="199861" y="107007"/>
                  </a:lnTo>
                  <a:lnTo>
                    <a:pt x="198948" y="116029"/>
                  </a:lnTo>
                  <a:lnTo>
                    <a:pt x="198233" y="125610"/>
                  </a:lnTo>
                  <a:lnTo>
                    <a:pt x="194513" y="187842"/>
                  </a:lnTo>
                  <a:lnTo>
                    <a:pt x="193292" y="202653"/>
                  </a:lnTo>
                  <a:lnTo>
                    <a:pt x="180664" y="193612"/>
                  </a:lnTo>
                  <a:lnTo>
                    <a:pt x="163806" y="172111"/>
                  </a:lnTo>
                  <a:lnTo>
                    <a:pt x="143305" y="137960"/>
                  </a:lnTo>
                  <a:lnTo>
                    <a:pt x="119745" y="90971"/>
                  </a:lnTo>
                  <a:lnTo>
                    <a:pt x="124424" y="110267"/>
                  </a:lnTo>
                  <a:lnTo>
                    <a:pt x="138024" y="153855"/>
                  </a:lnTo>
                  <a:lnTo>
                    <a:pt x="159890" y="200279"/>
                  </a:lnTo>
                  <a:lnTo>
                    <a:pt x="189365" y="228087"/>
                  </a:lnTo>
                  <a:lnTo>
                    <a:pt x="188612" y="241667"/>
                  </a:lnTo>
                  <a:lnTo>
                    <a:pt x="188287" y="253477"/>
                  </a:lnTo>
                  <a:lnTo>
                    <a:pt x="188299" y="264532"/>
                  </a:lnTo>
                  <a:lnTo>
                    <a:pt x="188559" y="275845"/>
                  </a:lnTo>
                  <a:lnTo>
                    <a:pt x="164392" y="268546"/>
                  </a:lnTo>
                  <a:lnTo>
                    <a:pt x="129927" y="250586"/>
                  </a:lnTo>
                  <a:lnTo>
                    <a:pt x="88690" y="223664"/>
                  </a:lnTo>
                  <a:lnTo>
                    <a:pt x="44205" y="189480"/>
                  </a:lnTo>
                  <a:lnTo>
                    <a:pt x="0" y="149733"/>
                  </a:lnTo>
                  <a:lnTo>
                    <a:pt x="14607" y="169128"/>
                  </a:lnTo>
                  <a:lnTo>
                    <a:pt x="54209" y="215507"/>
                  </a:lnTo>
                  <a:lnTo>
                    <a:pt x="112471" y="271163"/>
                  </a:lnTo>
                  <a:lnTo>
                    <a:pt x="183062" y="318388"/>
                  </a:lnTo>
                  <a:lnTo>
                    <a:pt x="181279" y="342392"/>
                  </a:lnTo>
                  <a:lnTo>
                    <a:pt x="180125" y="380158"/>
                  </a:lnTo>
                  <a:lnTo>
                    <a:pt x="178947" y="447473"/>
                  </a:lnTo>
                  <a:lnTo>
                    <a:pt x="178335" y="456574"/>
                  </a:lnTo>
                  <a:lnTo>
                    <a:pt x="174444" y="482592"/>
                  </a:lnTo>
                  <a:lnTo>
                    <a:pt x="254316" y="482592"/>
                  </a:lnTo>
                  <a:lnTo>
                    <a:pt x="250285" y="463790"/>
                  </a:lnTo>
                  <a:lnTo>
                    <a:pt x="246466" y="443253"/>
                  </a:lnTo>
                  <a:lnTo>
                    <a:pt x="243020" y="422080"/>
                  </a:lnTo>
                  <a:lnTo>
                    <a:pt x="240107" y="401369"/>
                  </a:lnTo>
                  <a:lnTo>
                    <a:pt x="238905" y="382982"/>
                  </a:lnTo>
                  <a:lnTo>
                    <a:pt x="236085" y="315974"/>
                  </a:lnTo>
                  <a:lnTo>
                    <a:pt x="234034" y="282232"/>
                  </a:lnTo>
                  <a:lnTo>
                    <a:pt x="275067" y="252659"/>
                  </a:lnTo>
                  <a:lnTo>
                    <a:pt x="305690" y="224934"/>
                  </a:lnTo>
                  <a:lnTo>
                    <a:pt x="341158" y="182977"/>
                  </a:lnTo>
                  <a:lnTo>
                    <a:pt x="396720" y="110708"/>
                  </a:lnTo>
                  <a:lnTo>
                    <a:pt x="376773" y="130819"/>
                  </a:lnTo>
                  <a:lnTo>
                    <a:pt x="347408" y="156047"/>
                  </a:lnTo>
                  <a:lnTo>
                    <a:pt x="318506" y="180379"/>
                  </a:lnTo>
                  <a:lnTo>
                    <a:pt x="299948" y="197805"/>
                  </a:lnTo>
                  <a:lnTo>
                    <a:pt x="298431" y="187691"/>
                  </a:lnTo>
                  <a:lnTo>
                    <a:pt x="301217" y="166981"/>
                  </a:lnTo>
                  <a:lnTo>
                    <a:pt x="305339" y="140629"/>
                  </a:lnTo>
                  <a:lnTo>
                    <a:pt x="307833" y="113588"/>
                  </a:lnTo>
                  <a:lnTo>
                    <a:pt x="303203" y="124040"/>
                  </a:lnTo>
                  <a:lnTo>
                    <a:pt x="293731" y="149467"/>
                  </a:lnTo>
                  <a:lnTo>
                    <a:pt x="286046" y="180975"/>
                  </a:lnTo>
                  <a:lnTo>
                    <a:pt x="286776" y="209669"/>
                  </a:lnTo>
                  <a:lnTo>
                    <a:pt x="274610" y="219440"/>
                  </a:lnTo>
                  <a:lnTo>
                    <a:pt x="260112" y="230067"/>
                  </a:lnTo>
                  <a:lnTo>
                    <a:pt x="245135" y="240185"/>
                  </a:lnTo>
                  <a:lnTo>
                    <a:pt x="231532" y="248432"/>
                  </a:lnTo>
                  <a:lnTo>
                    <a:pt x="226766" y="181175"/>
                  </a:lnTo>
                  <a:lnTo>
                    <a:pt x="223029" y="134571"/>
                  </a:lnTo>
                  <a:lnTo>
                    <a:pt x="230851" y="113666"/>
                  </a:lnTo>
                  <a:lnTo>
                    <a:pt x="248417" y="74090"/>
                  </a:lnTo>
                  <a:lnTo>
                    <a:pt x="265585" y="36445"/>
                  </a:lnTo>
                  <a:lnTo>
                    <a:pt x="272211" y="21329"/>
                  </a:lnTo>
                  <a:lnTo>
                    <a:pt x="257891" y="41475"/>
                  </a:lnTo>
                  <a:lnTo>
                    <a:pt x="246082" y="57208"/>
                  </a:lnTo>
                  <a:lnTo>
                    <a:pt x="234912" y="74036"/>
                  </a:lnTo>
                  <a:lnTo>
                    <a:pt x="222506" y="97463"/>
                  </a:lnTo>
                  <a:lnTo>
                    <a:pt x="218936" y="102801"/>
                  </a:lnTo>
                  <a:lnTo>
                    <a:pt x="215698" y="94429"/>
                  </a:lnTo>
                  <a:lnTo>
                    <a:pt x="210951" y="63207"/>
                  </a:lnTo>
                  <a:lnTo>
                    <a:pt x="202852" y="0"/>
                  </a:lnTo>
                  <a:close/>
                </a:path>
              </a:pathLst>
            </a:custGeom>
            <a:solidFill>
              <a:srgbClr val="4D392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5" name="object 171">
              <a:extLst>
                <a:ext uri="{FF2B5EF4-FFF2-40B4-BE49-F238E27FC236}">
                  <a16:creationId xmlns:a16="http://schemas.microsoft.com/office/drawing/2014/main" id="{DB1642D0-3ACE-462E-8086-E6357FA29CC3}"/>
                </a:ext>
              </a:extLst>
            </p:cNvPr>
            <p:cNvSpPr/>
            <p:nvPr/>
          </p:nvSpPr>
          <p:spPr>
            <a:xfrm>
              <a:off x="3209340" y="8577535"/>
              <a:ext cx="577850" cy="427990"/>
            </a:xfrm>
            <a:custGeom>
              <a:avLst/>
              <a:gdLst/>
              <a:ahLst/>
              <a:cxnLst/>
              <a:rect l="l" t="t" r="r" b="b"/>
              <a:pathLst>
                <a:path w="577850" h="427990">
                  <a:moveTo>
                    <a:pt x="233527" y="191109"/>
                  </a:moveTo>
                  <a:lnTo>
                    <a:pt x="207175" y="157454"/>
                  </a:lnTo>
                  <a:lnTo>
                    <a:pt x="162090" y="148551"/>
                  </a:lnTo>
                  <a:lnTo>
                    <a:pt x="148640" y="144297"/>
                  </a:lnTo>
                  <a:lnTo>
                    <a:pt x="134734" y="141262"/>
                  </a:lnTo>
                  <a:lnTo>
                    <a:pt x="120408" y="139560"/>
                  </a:lnTo>
                  <a:lnTo>
                    <a:pt x="105740" y="139255"/>
                  </a:lnTo>
                  <a:lnTo>
                    <a:pt x="75501" y="143129"/>
                  </a:lnTo>
                  <a:lnTo>
                    <a:pt x="47447" y="152628"/>
                  </a:lnTo>
                  <a:lnTo>
                    <a:pt x="22098" y="167170"/>
                  </a:lnTo>
                  <a:lnTo>
                    <a:pt x="0" y="186131"/>
                  </a:lnTo>
                  <a:lnTo>
                    <a:pt x="12357" y="184619"/>
                  </a:lnTo>
                  <a:lnTo>
                    <a:pt x="49060" y="178130"/>
                  </a:lnTo>
                  <a:lnTo>
                    <a:pt x="64312" y="176060"/>
                  </a:lnTo>
                  <a:lnTo>
                    <a:pt x="97409" y="175895"/>
                  </a:lnTo>
                  <a:lnTo>
                    <a:pt x="129743" y="179374"/>
                  </a:lnTo>
                  <a:lnTo>
                    <a:pt x="158686" y="184772"/>
                  </a:lnTo>
                  <a:lnTo>
                    <a:pt x="181571" y="190334"/>
                  </a:lnTo>
                  <a:lnTo>
                    <a:pt x="209537" y="196507"/>
                  </a:lnTo>
                  <a:lnTo>
                    <a:pt x="227177" y="197015"/>
                  </a:lnTo>
                  <a:lnTo>
                    <a:pt x="233527" y="191109"/>
                  </a:lnTo>
                  <a:close/>
                </a:path>
                <a:path w="577850" h="427990">
                  <a:moveTo>
                    <a:pt x="577646" y="412216"/>
                  </a:moveTo>
                  <a:lnTo>
                    <a:pt x="569760" y="359270"/>
                  </a:lnTo>
                  <a:lnTo>
                    <a:pt x="550621" y="319595"/>
                  </a:lnTo>
                  <a:lnTo>
                    <a:pt x="521944" y="287197"/>
                  </a:lnTo>
                  <a:lnTo>
                    <a:pt x="485622" y="263906"/>
                  </a:lnTo>
                  <a:lnTo>
                    <a:pt x="443585" y="251536"/>
                  </a:lnTo>
                  <a:lnTo>
                    <a:pt x="443306" y="251002"/>
                  </a:lnTo>
                  <a:lnTo>
                    <a:pt x="455930" y="229527"/>
                  </a:lnTo>
                  <a:lnTo>
                    <a:pt x="465175" y="206057"/>
                  </a:lnTo>
                  <a:lnTo>
                    <a:pt x="470687" y="180936"/>
                  </a:lnTo>
                  <a:lnTo>
                    <a:pt x="472097" y="154508"/>
                  </a:lnTo>
                  <a:lnTo>
                    <a:pt x="462788" y="104508"/>
                  </a:lnTo>
                  <a:lnTo>
                    <a:pt x="439547" y="61518"/>
                  </a:lnTo>
                  <a:lnTo>
                    <a:pt x="405003" y="28067"/>
                  </a:lnTo>
                  <a:lnTo>
                    <a:pt x="361772" y="6718"/>
                  </a:lnTo>
                  <a:lnTo>
                    <a:pt x="312508" y="0"/>
                  </a:lnTo>
                  <a:lnTo>
                    <a:pt x="275602" y="5588"/>
                  </a:lnTo>
                  <a:lnTo>
                    <a:pt x="242163" y="19481"/>
                  </a:lnTo>
                  <a:lnTo>
                    <a:pt x="213220" y="40563"/>
                  </a:lnTo>
                  <a:lnTo>
                    <a:pt x="189763" y="67716"/>
                  </a:lnTo>
                  <a:lnTo>
                    <a:pt x="222097" y="52565"/>
                  </a:lnTo>
                  <a:lnTo>
                    <a:pt x="253517" y="42684"/>
                  </a:lnTo>
                  <a:lnTo>
                    <a:pt x="336219" y="46951"/>
                  </a:lnTo>
                  <a:lnTo>
                    <a:pt x="380060" y="64198"/>
                  </a:lnTo>
                  <a:lnTo>
                    <a:pt x="410654" y="90805"/>
                  </a:lnTo>
                  <a:lnTo>
                    <a:pt x="435190" y="159600"/>
                  </a:lnTo>
                  <a:lnTo>
                    <a:pt x="430631" y="195567"/>
                  </a:lnTo>
                  <a:lnTo>
                    <a:pt x="415874" y="228422"/>
                  </a:lnTo>
                  <a:lnTo>
                    <a:pt x="391668" y="255028"/>
                  </a:lnTo>
                  <a:lnTo>
                    <a:pt x="358762" y="272275"/>
                  </a:lnTo>
                  <a:lnTo>
                    <a:pt x="331000" y="281216"/>
                  </a:lnTo>
                  <a:lnTo>
                    <a:pt x="315087" y="287655"/>
                  </a:lnTo>
                  <a:lnTo>
                    <a:pt x="309740" y="292798"/>
                  </a:lnTo>
                  <a:lnTo>
                    <a:pt x="313690" y="297878"/>
                  </a:lnTo>
                  <a:lnTo>
                    <a:pt x="333565" y="309460"/>
                  </a:lnTo>
                  <a:lnTo>
                    <a:pt x="352386" y="314642"/>
                  </a:lnTo>
                  <a:lnTo>
                    <a:pt x="375932" y="313778"/>
                  </a:lnTo>
                  <a:lnTo>
                    <a:pt x="409968" y="307149"/>
                  </a:lnTo>
                  <a:lnTo>
                    <a:pt x="460590" y="308902"/>
                  </a:lnTo>
                  <a:lnTo>
                    <a:pt x="503580" y="331990"/>
                  </a:lnTo>
                  <a:lnTo>
                    <a:pt x="537908" y="366242"/>
                  </a:lnTo>
                  <a:lnTo>
                    <a:pt x="562521" y="401434"/>
                  </a:lnTo>
                  <a:lnTo>
                    <a:pt x="576338" y="427380"/>
                  </a:lnTo>
                  <a:lnTo>
                    <a:pt x="577240" y="419862"/>
                  </a:lnTo>
                  <a:lnTo>
                    <a:pt x="577646" y="412216"/>
                  </a:lnTo>
                  <a:close/>
                </a:path>
              </a:pathLst>
            </a:custGeom>
            <a:solidFill>
              <a:srgbClr val="F8FC6E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6" name="object 172">
              <a:extLst>
                <a:ext uri="{FF2B5EF4-FFF2-40B4-BE49-F238E27FC236}">
                  <a16:creationId xmlns:a16="http://schemas.microsoft.com/office/drawing/2014/main" id="{36E99828-FE39-4A14-A859-CE3BEA0C9685}"/>
                </a:ext>
              </a:extLst>
            </p:cNvPr>
            <p:cNvSpPr/>
            <p:nvPr/>
          </p:nvSpPr>
          <p:spPr>
            <a:xfrm>
              <a:off x="3105861" y="8830684"/>
              <a:ext cx="679450" cy="394970"/>
            </a:xfrm>
            <a:custGeom>
              <a:avLst/>
              <a:gdLst/>
              <a:ahLst/>
              <a:cxnLst/>
              <a:rect l="l" t="t" r="r" b="b"/>
              <a:pathLst>
                <a:path w="679450" h="394970">
                  <a:moveTo>
                    <a:pt x="177825" y="102997"/>
                  </a:moveTo>
                  <a:lnTo>
                    <a:pt x="170789" y="95986"/>
                  </a:lnTo>
                  <a:lnTo>
                    <a:pt x="153492" y="95986"/>
                  </a:lnTo>
                  <a:lnTo>
                    <a:pt x="146469" y="102997"/>
                  </a:lnTo>
                  <a:lnTo>
                    <a:pt x="146469" y="111645"/>
                  </a:lnTo>
                  <a:lnTo>
                    <a:pt x="146469" y="120281"/>
                  </a:lnTo>
                  <a:lnTo>
                    <a:pt x="153492" y="127317"/>
                  </a:lnTo>
                  <a:lnTo>
                    <a:pt x="170789" y="127317"/>
                  </a:lnTo>
                  <a:lnTo>
                    <a:pt x="177825" y="120281"/>
                  </a:lnTo>
                  <a:lnTo>
                    <a:pt x="177825" y="102997"/>
                  </a:lnTo>
                  <a:close/>
                </a:path>
                <a:path w="679450" h="394970">
                  <a:moveTo>
                    <a:pt x="201409" y="165785"/>
                  </a:moveTo>
                  <a:lnTo>
                    <a:pt x="198780" y="152704"/>
                  </a:lnTo>
                  <a:lnTo>
                    <a:pt x="191579" y="142024"/>
                  </a:lnTo>
                  <a:lnTo>
                    <a:pt x="180886" y="134823"/>
                  </a:lnTo>
                  <a:lnTo>
                    <a:pt x="167792" y="132181"/>
                  </a:lnTo>
                  <a:lnTo>
                    <a:pt x="154711" y="134823"/>
                  </a:lnTo>
                  <a:lnTo>
                    <a:pt x="144030" y="142024"/>
                  </a:lnTo>
                  <a:lnTo>
                    <a:pt x="136829" y="152704"/>
                  </a:lnTo>
                  <a:lnTo>
                    <a:pt x="134188" y="165785"/>
                  </a:lnTo>
                  <a:lnTo>
                    <a:pt x="136829" y="178866"/>
                  </a:lnTo>
                  <a:lnTo>
                    <a:pt x="144030" y="189547"/>
                  </a:lnTo>
                  <a:lnTo>
                    <a:pt x="154711" y="196748"/>
                  </a:lnTo>
                  <a:lnTo>
                    <a:pt x="167792" y="199390"/>
                  </a:lnTo>
                  <a:lnTo>
                    <a:pt x="180886" y="196748"/>
                  </a:lnTo>
                  <a:lnTo>
                    <a:pt x="191579" y="189547"/>
                  </a:lnTo>
                  <a:lnTo>
                    <a:pt x="198780" y="178866"/>
                  </a:lnTo>
                  <a:lnTo>
                    <a:pt x="201409" y="165785"/>
                  </a:lnTo>
                  <a:close/>
                </a:path>
                <a:path w="679450" h="394970">
                  <a:moveTo>
                    <a:pt x="245249" y="199390"/>
                  </a:moveTo>
                  <a:lnTo>
                    <a:pt x="243586" y="191096"/>
                  </a:lnTo>
                  <a:lnTo>
                    <a:pt x="239014" y="184302"/>
                  </a:lnTo>
                  <a:lnTo>
                    <a:pt x="232232" y="179730"/>
                  </a:lnTo>
                  <a:lnTo>
                    <a:pt x="223926" y="178054"/>
                  </a:lnTo>
                  <a:lnTo>
                    <a:pt x="215633" y="179730"/>
                  </a:lnTo>
                  <a:lnTo>
                    <a:pt x="208851" y="184302"/>
                  </a:lnTo>
                  <a:lnTo>
                    <a:pt x="204292" y="191096"/>
                  </a:lnTo>
                  <a:lnTo>
                    <a:pt x="202615" y="199390"/>
                  </a:lnTo>
                  <a:lnTo>
                    <a:pt x="204292" y="207695"/>
                  </a:lnTo>
                  <a:lnTo>
                    <a:pt x="208851" y="214464"/>
                  </a:lnTo>
                  <a:lnTo>
                    <a:pt x="215633" y="219036"/>
                  </a:lnTo>
                  <a:lnTo>
                    <a:pt x="223926" y="220713"/>
                  </a:lnTo>
                  <a:lnTo>
                    <a:pt x="232232" y="219036"/>
                  </a:lnTo>
                  <a:lnTo>
                    <a:pt x="239014" y="214464"/>
                  </a:lnTo>
                  <a:lnTo>
                    <a:pt x="243586" y="207695"/>
                  </a:lnTo>
                  <a:lnTo>
                    <a:pt x="245249" y="199390"/>
                  </a:lnTo>
                  <a:close/>
                </a:path>
                <a:path w="679450" h="394970">
                  <a:moveTo>
                    <a:pt x="539584" y="188772"/>
                  </a:moveTo>
                  <a:lnTo>
                    <a:pt x="532574" y="181724"/>
                  </a:lnTo>
                  <a:lnTo>
                    <a:pt x="515251" y="181724"/>
                  </a:lnTo>
                  <a:lnTo>
                    <a:pt x="508241" y="188772"/>
                  </a:lnTo>
                  <a:lnTo>
                    <a:pt x="508241" y="197408"/>
                  </a:lnTo>
                  <a:lnTo>
                    <a:pt x="508241" y="206057"/>
                  </a:lnTo>
                  <a:lnTo>
                    <a:pt x="515251" y="213080"/>
                  </a:lnTo>
                  <a:lnTo>
                    <a:pt x="532574" y="213080"/>
                  </a:lnTo>
                  <a:lnTo>
                    <a:pt x="539584" y="206057"/>
                  </a:lnTo>
                  <a:lnTo>
                    <a:pt x="539584" y="188772"/>
                  </a:lnTo>
                  <a:close/>
                </a:path>
                <a:path w="679450" h="394970">
                  <a:moveTo>
                    <a:pt x="582231" y="235077"/>
                  </a:moveTo>
                  <a:lnTo>
                    <a:pt x="580555" y="226771"/>
                  </a:lnTo>
                  <a:lnTo>
                    <a:pt x="575983" y="220002"/>
                  </a:lnTo>
                  <a:lnTo>
                    <a:pt x="569201" y="215430"/>
                  </a:lnTo>
                  <a:lnTo>
                    <a:pt x="560908" y="213753"/>
                  </a:lnTo>
                  <a:lnTo>
                    <a:pt x="552602" y="215430"/>
                  </a:lnTo>
                  <a:lnTo>
                    <a:pt x="545833" y="220002"/>
                  </a:lnTo>
                  <a:lnTo>
                    <a:pt x="541261" y="226771"/>
                  </a:lnTo>
                  <a:lnTo>
                    <a:pt x="539597" y="235077"/>
                  </a:lnTo>
                  <a:lnTo>
                    <a:pt x="541261" y="243370"/>
                  </a:lnTo>
                  <a:lnTo>
                    <a:pt x="545833" y="250151"/>
                  </a:lnTo>
                  <a:lnTo>
                    <a:pt x="552602" y="254723"/>
                  </a:lnTo>
                  <a:lnTo>
                    <a:pt x="560908" y="256400"/>
                  </a:lnTo>
                  <a:lnTo>
                    <a:pt x="569201" y="254723"/>
                  </a:lnTo>
                  <a:lnTo>
                    <a:pt x="575983" y="250151"/>
                  </a:lnTo>
                  <a:lnTo>
                    <a:pt x="580555" y="243370"/>
                  </a:lnTo>
                  <a:lnTo>
                    <a:pt x="582231" y="235077"/>
                  </a:lnTo>
                  <a:close/>
                </a:path>
                <a:path w="679450" h="394970">
                  <a:moveTo>
                    <a:pt x="678942" y="253707"/>
                  </a:moveTo>
                  <a:lnTo>
                    <a:pt x="636028" y="252907"/>
                  </a:lnTo>
                  <a:lnTo>
                    <a:pt x="626694" y="252374"/>
                  </a:lnTo>
                  <a:lnTo>
                    <a:pt x="621347" y="251447"/>
                  </a:lnTo>
                  <a:lnTo>
                    <a:pt x="616610" y="249809"/>
                  </a:lnTo>
                  <a:lnTo>
                    <a:pt x="607669" y="257530"/>
                  </a:lnTo>
                  <a:lnTo>
                    <a:pt x="584174" y="273494"/>
                  </a:lnTo>
                  <a:lnTo>
                    <a:pt x="551103" y="286854"/>
                  </a:lnTo>
                  <a:lnTo>
                    <a:pt x="513448" y="286766"/>
                  </a:lnTo>
                  <a:lnTo>
                    <a:pt x="451231" y="268097"/>
                  </a:lnTo>
                  <a:lnTo>
                    <a:pt x="420243" y="247573"/>
                  </a:lnTo>
                  <a:lnTo>
                    <a:pt x="411264" y="212318"/>
                  </a:lnTo>
                  <a:lnTo>
                    <a:pt x="415086" y="149466"/>
                  </a:lnTo>
                  <a:lnTo>
                    <a:pt x="406387" y="161594"/>
                  </a:lnTo>
                  <a:lnTo>
                    <a:pt x="382790" y="189306"/>
                  </a:lnTo>
                  <a:lnTo>
                    <a:pt x="348043" y="219646"/>
                  </a:lnTo>
                  <a:lnTo>
                    <a:pt x="305866" y="239649"/>
                  </a:lnTo>
                  <a:lnTo>
                    <a:pt x="267131" y="245325"/>
                  </a:lnTo>
                  <a:lnTo>
                    <a:pt x="227634" y="244525"/>
                  </a:lnTo>
                  <a:lnTo>
                    <a:pt x="190042" y="237032"/>
                  </a:lnTo>
                  <a:lnTo>
                    <a:pt x="157035" y="222605"/>
                  </a:lnTo>
                  <a:lnTo>
                    <a:pt x="103505" y="188214"/>
                  </a:lnTo>
                  <a:lnTo>
                    <a:pt x="81813" y="160540"/>
                  </a:lnTo>
                  <a:lnTo>
                    <a:pt x="88519" y="124980"/>
                  </a:lnTo>
                  <a:lnTo>
                    <a:pt x="120167" y="66941"/>
                  </a:lnTo>
                  <a:lnTo>
                    <a:pt x="123659" y="63220"/>
                  </a:lnTo>
                  <a:lnTo>
                    <a:pt x="128104" y="54051"/>
                  </a:lnTo>
                  <a:lnTo>
                    <a:pt x="124498" y="42443"/>
                  </a:lnTo>
                  <a:lnTo>
                    <a:pt x="103771" y="31407"/>
                  </a:lnTo>
                  <a:lnTo>
                    <a:pt x="90805" y="25869"/>
                  </a:lnTo>
                  <a:lnTo>
                    <a:pt x="80162" y="18326"/>
                  </a:lnTo>
                  <a:lnTo>
                    <a:pt x="71640" y="9474"/>
                  </a:lnTo>
                  <a:lnTo>
                    <a:pt x="64985" y="0"/>
                  </a:lnTo>
                  <a:lnTo>
                    <a:pt x="62395" y="10198"/>
                  </a:lnTo>
                  <a:lnTo>
                    <a:pt x="60452" y="20637"/>
                  </a:lnTo>
                  <a:lnTo>
                    <a:pt x="59182" y="31292"/>
                  </a:lnTo>
                  <a:lnTo>
                    <a:pt x="58648" y="42151"/>
                  </a:lnTo>
                  <a:lnTo>
                    <a:pt x="34658" y="61506"/>
                  </a:lnTo>
                  <a:lnTo>
                    <a:pt x="16154" y="86233"/>
                  </a:lnTo>
                  <a:lnTo>
                    <a:pt x="4216" y="115227"/>
                  </a:lnTo>
                  <a:lnTo>
                    <a:pt x="0" y="147421"/>
                  </a:lnTo>
                  <a:lnTo>
                    <a:pt x="3568" y="177063"/>
                  </a:lnTo>
                  <a:lnTo>
                    <a:pt x="13703" y="204089"/>
                  </a:lnTo>
                  <a:lnTo>
                    <a:pt x="29527" y="227672"/>
                  </a:lnTo>
                  <a:lnTo>
                    <a:pt x="50190" y="246976"/>
                  </a:lnTo>
                  <a:lnTo>
                    <a:pt x="43916" y="255054"/>
                  </a:lnTo>
                  <a:lnTo>
                    <a:pt x="39179" y="264210"/>
                  </a:lnTo>
                  <a:lnTo>
                    <a:pt x="36195" y="274243"/>
                  </a:lnTo>
                  <a:lnTo>
                    <a:pt x="35153" y="285000"/>
                  </a:lnTo>
                  <a:lnTo>
                    <a:pt x="39535" y="306768"/>
                  </a:lnTo>
                  <a:lnTo>
                    <a:pt x="51511" y="324548"/>
                  </a:lnTo>
                  <a:lnTo>
                    <a:pt x="69253" y="336524"/>
                  </a:lnTo>
                  <a:lnTo>
                    <a:pt x="90957" y="340918"/>
                  </a:lnTo>
                  <a:lnTo>
                    <a:pt x="103505" y="339496"/>
                  </a:lnTo>
                  <a:lnTo>
                    <a:pt x="115036" y="335445"/>
                  </a:lnTo>
                  <a:lnTo>
                    <a:pt x="125247" y="329069"/>
                  </a:lnTo>
                  <a:lnTo>
                    <a:pt x="133832" y="320713"/>
                  </a:lnTo>
                  <a:lnTo>
                    <a:pt x="151015" y="328282"/>
                  </a:lnTo>
                  <a:lnTo>
                    <a:pt x="169176" y="333717"/>
                  </a:lnTo>
                  <a:lnTo>
                    <a:pt x="188163" y="336867"/>
                  </a:lnTo>
                  <a:lnTo>
                    <a:pt x="207810" y="337566"/>
                  </a:lnTo>
                  <a:lnTo>
                    <a:pt x="236054" y="334124"/>
                  </a:lnTo>
                  <a:lnTo>
                    <a:pt x="262432" y="325716"/>
                  </a:lnTo>
                  <a:lnTo>
                    <a:pt x="286512" y="312864"/>
                  </a:lnTo>
                  <a:lnTo>
                    <a:pt x="307848" y="296075"/>
                  </a:lnTo>
                  <a:lnTo>
                    <a:pt x="327850" y="305358"/>
                  </a:lnTo>
                  <a:lnTo>
                    <a:pt x="348703" y="309943"/>
                  </a:lnTo>
                  <a:lnTo>
                    <a:pt x="369684" y="309968"/>
                  </a:lnTo>
                  <a:lnTo>
                    <a:pt x="390029" y="305612"/>
                  </a:lnTo>
                  <a:lnTo>
                    <a:pt x="406857" y="341274"/>
                  </a:lnTo>
                  <a:lnTo>
                    <a:pt x="433590" y="369519"/>
                  </a:lnTo>
                  <a:lnTo>
                    <a:pt x="468033" y="388112"/>
                  </a:lnTo>
                  <a:lnTo>
                    <a:pt x="507974" y="394804"/>
                  </a:lnTo>
                  <a:lnTo>
                    <a:pt x="552500" y="386435"/>
                  </a:lnTo>
                  <a:lnTo>
                    <a:pt x="589737" y="363423"/>
                  </a:lnTo>
                  <a:lnTo>
                    <a:pt x="616572" y="328930"/>
                  </a:lnTo>
                  <a:lnTo>
                    <a:pt x="629869" y="286105"/>
                  </a:lnTo>
                  <a:lnTo>
                    <a:pt x="640930" y="283819"/>
                  </a:lnTo>
                  <a:lnTo>
                    <a:pt x="673811" y="261835"/>
                  </a:lnTo>
                  <a:lnTo>
                    <a:pt x="676516" y="257848"/>
                  </a:lnTo>
                  <a:lnTo>
                    <a:pt x="678942" y="253707"/>
                  </a:lnTo>
                  <a:close/>
                </a:path>
              </a:pathLst>
            </a:custGeom>
            <a:solidFill>
              <a:srgbClr val="34641C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7" name="object 173">
              <a:extLst>
                <a:ext uri="{FF2B5EF4-FFF2-40B4-BE49-F238E27FC236}">
                  <a16:creationId xmlns:a16="http://schemas.microsoft.com/office/drawing/2014/main" id="{4683092F-F6E0-4FB2-B6D3-14153E565811}"/>
                </a:ext>
              </a:extLst>
            </p:cNvPr>
            <p:cNvSpPr/>
            <p:nvPr/>
          </p:nvSpPr>
          <p:spPr>
            <a:xfrm>
              <a:off x="3168739" y="9053772"/>
              <a:ext cx="62230" cy="69850"/>
            </a:xfrm>
            <a:custGeom>
              <a:avLst/>
              <a:gdLst/>
              <a:ahLst/>
              <a:cxnLst/>
              <a:rect l="l" t="t" r="r" b="b"/>
              <a:pathLst>
                <a:path w="62230" h="69850">
                  <a:moveTo>
                    <a:pt x="27406" y="6134"/>
                  </a:moveTo>
                  <a:lnTo>
                    <a:pt x="21259" y="0"/>
                  </a:lnTo>
                  <a:lnTo>
                    <a:pt x="6134" y="0"/>
                  </a:lnTo>
                  <a:lnTo>
                    <a:pt x="0" y="6134"/>
                  </a:lnTo>
                  <a:lnTo>
                    <a:pt x="0" y="13690"/>
                  </a:lnTo>
                  <a:lnTo>
                    <a:pt x="0" y="21272"/>
                  </a:lnTo>
                  <a:lnTo>
                    <a:pt x="6134" y="27406"/>
                  </a:lnTo>
                  <a:lnTo>
                    <a:pt x="21259" y="27406"/>
                  </a:lnTo>
                  <a:lnTo>
                    <a:pt x="27406" y="21272"/>
                  </a:lnTo>
                  <a:lnTo>
                    <a:pt x="27406" y="6134"/>
                  </a:lnTo>
                  <a:close/>
                </a:path>
                <a:path w="62230" h="69850">
                  <a:moveTo>
                    <a:pt x="62217" y="48031"/>
                  </a:moveTo>
                  <a:lnTo>
                    <a:pt x="60540" y="39738"/>
                  </a:lnTo>
                  <a:lnTo>
                    <a:pt x="55968" y="32956"/>
                  </a:lnTo>
                  <a:lnTo>
                    <a:pt x="49199" y="28397"/>
                  </a:lnTo>
                  <a:lnTo>
                    <a:pt x="40894" y="26720"/>
                  </a:lnTo>
                  <a:lnTo>
                    <a:pt x="32588" y="28397"/>
                  </a:lnTo>
                  <a:lnTo>
                    <a:pt x="25819" y="32956"/>
                  </a:lnTo>
                  <a:lnTo>
                    <a:pt x="21259" y="39738"/>
                  </a:lnTo>
                  <a:lnTo>
                    <a:pt x="19583" y="48031"/>
                  </a:lnTo>
                  <a:lnTo>
                    <a:pt x="21259" y="56324"/>
                  </a:lnTo>
                  <a:lnTo>
                    <a:pt x="25819" y="63093"/>
                  </a:lnTo>
                  <a:lnTo>
                    <a:pt x="32588" y="67665"/>
                  </a:lnTo>
                  <a:lnTo>
                    <a:pt x="40894" y="69342"/>
                  </a:lnTo>
                  <a:lnTo>
                    <a:pt x="49199" y="67665"/>
                  </a:lnTo>
                  <a:lnTo>
                    <a:pt x="55968" y="63093"/>
                  </a:lnTo>
                  <a:lnTo>
                    <a:pt x="60540" y="56324"/>
                  </a:lnTo>
                  <a:lnTo>
                    <a:pt x="62217" y="48031"/>
                  </a:lnTo>
                  <a:close/>
                </a:path>
              </a:pathLst>
            </a:custGeom>
            <a:solidFill>
              <a:srgbClr val="89C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8" name="object 174">
              <a:extLst>
                <a:ext uri="{FF2B5EF4-FFF2-40B4-BE49-F238E27FC236}">
                  <a16:creationId xmlns:a16="http://schemas.microsoft.com/office/drawing/2014/main" id="{A5517DBE-36C5-4472-A5CE-434CC5C36CC2}"/>
                </a:ext>
              </a:extLst>
            </p:cNvPr>
            <p:cNvSpPr/>
            <p:nvPr/>
          </p:nvSpPr>
          <p:spPr>
            <a:xfrm>
              <a:off x="3561650" y="8674058"/>
              <a:ext cx="43180" cy="43180"/>
            </a:xfrm>
            <a:custGeom>
              <a:avLst/>
              <a:gdLst/>
              <a:ahLst/>
              <a:cxnLst/>
              <a:rect l="l" t="t" r="r" b="b"/>
              <a:pathLst>
                <a:path w="43179" h="43179">
                  <a:moveTo>
                    <a:pt x="21329" y="0"/>
                  </a:moveTo>
                  <a:lnTo>
                    <a:pt x="13026" y="1677"/>
                  </a:lnTo>
                  <a:lnTo>
                    <a:pt x="6247" y="6251"/>
                  </a:lnTo>
                  <a:lnTo>
                    <a:pt x="1676" y="13031"/>
                  </a:lnTo>
                  <a:lnTo>
                    <a:pt x="0" y="21329"/>
                  </a:lnTo>
                  <a:lnTo>
                    <a:pt x="1676" y="29631"/>
                  </a:lnTo>
                  <a:lnTo>
                    <a:pt x="6247" y="36411"/>
                  </a:lnTo>
                  <a:lnTo>
                    <a:pt x="13026" y="40982"/>
                  </a:lnTo>
                  <a:lnTo>
                    <a:pt x="21329" y="42658"/>
                  </a:lnTo>
                  <a:lnTo>
                    <a:pt x="29613" y="40982"/>
                  </a:lnTo>
                  <a:lnTo>
                    <a:pt x="36383" y="36411"/>
                  </a:lnTo>
                  <a:lnTo>
                    <a:pt x="40951" y="29631"/>
                  </a:lnTo>
                  <a:lnTo>
                    <a:pt x="42626" y="21329"/>
                  </a:lnTo>
                  <a:lnTo>
                    <a:pt x="40951" y="13031"/>
                  </a:lnTo>
                  <a:lnTo>
                    <a:pt x="36383" y="6251"/>
                  </a:lnTo>
                  <a:lnTo>
                    <a:pt x="29613" y="1677"/>
                  </a:lnTo>
                  <a:lnTo>
                    <a:pt x="21329" y="0"/>
                  </a:lnTo>
                  <a:close/>
                </a:path>
              </a:pathLst>
            </a:custGeom>
            <a:solidFill>
              <a:srgbClr val="F8FC6E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139" name="object 175">
              <a:extLst>
                <a:ext uri="{FF2B5EF4-FFF2-40B4-BE49-F238E27FC236}">
                  <a16:creationId xmlns:a16="http://schemas.microsoft.com/office/drawing/2014/main" id="{B33D6BC8-4C90-4F9B-AD62-D907D07B5B96}"/>
                </a:ext>
              </a:extLst>
            </p:cNvPr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3618523" y="8891910"/>
              <a:ext cx="69579" cy="69505"/>
            </a:xfrm>
            <a:prstGeom prst="rect">
              <a:avLst/>
            </a:prstGeom>
          </p:spPr>
        </p:pic>
        <p:sp>
          <p:nvSpPr>
            <p:cNvPr id="140" name="object 176">
              <a:extLst>
                <a:ext uri="{FF2B5EF4-FFF2-40B4-BE49-F238E27FC236}">
                  <a16:creationId xmlns:a16="http://schemas.microsoft.com/office/drawing/2014/main" id="{32E0658D-2603-47CA-B280-F3120BFF8B3C}"/>
                </a:ext>
              </a:extLst>
            </p:cNvPr>
            <p:cNvSpPr/>
            <p:nvPr/>
          </p:nvSpPr>
          <p:spPr>
            <a:xfrm>
              <a:off x="3439909" y="8646648"/>
              <a:ext cx="130810" cy="154940"/>
            </a:xfrm>
            <a:custGeom>
              <a:avLst/>
              <a:gdLst/>
              <a:ahLst/>
              <a:cxnLst/>
              <a:rect l="l" t="t" r="r" b="b"/>
              <a:pathLst>
                <a:path w="130810" h="154940">
                  <a:moveTo>
                    <a:pt x="20053" y="139014"/>
                  </a:moveTo>
                  <a:lnTo>
                    <a:pt x="15557" y="134531"/>
                  </a:lnTo>
                  <a:lnTo>
                    <a:pt x="4483" y="134531"/>
                  </a:lnTo>
                  <a:lnTo>
                    <a:pt x="0" y="139014"/>
                  </a:lnTo>
                  <a:lnTo>
                    <a:pt x="0" y="144551"/>
                  </a:lnTo>
                  <a:lnTo>
                    <a:pt x="0" y="150088"/>
                  </a:lnTo>
                  <a:lnTo>
                    <a:pt x="4483" y="154571"/>
                  </a:lnTo>
                  <a:lnTo>
                    <a:pt x="15557" y="154571"/>
                  </a:lnTo>
                  <a:lnTo>
                    <a:pt x="20053" y="150088"/>
                  </a:lnTo>
                  <a:lnTo>
                    <a:pt x="20053" y="139014"/>
                  </a:lnTo>
                  <a:close/>
                </a:path>
                <a:path w="130810" h="154940">
                  <a:moveTo>
                    <a:pt x="130263" y="4483"/>
                  </a:moveTo>
                  <a:lnTo>
                    <a:pt x="125780" y="0"/>
                  </a:lnTo>
                  <a:lnTo>
                    <a:pt x="114719" y="0"/>
                  </a:lnTo>
                  <a:lnTo>
                    <a:pt x="110236" y="4483"/>
                  </a:lnTo>
                  <a:lnTo>
                    <a:pt x="110236" y="10033"/>
                  </a:lnTo>
                  <a:lnTo>
                    <a:pt x="110236" y="15544"/>
                  </a:lnTo>
                  <a:lnTo>
                    <a:pt x="114719" y="20040"/>
                  </a:lnTo>
                  <a:lnTo>
                    <a:pt x="125780" y="20040"/>
                  </a:lnTo>
                  <a:lnTo>
                    <a:pt x="130263" y="15544"/>
                  </a:lnTo>
                  <a:lnTo>
                    <a:pt x="130263" y="4483"/>
                  </a:lnTo>
                  <a:close/>
                </a:path>
              </a:pathLst>
            </a:custGeom>
            <a:solidFill>
              <a:srgbClr val="F8FC6E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1" name="object 177">
              <a:extLst>
                <a:ext uri="{FF2B5EF4-FFF2-40B4-BE49-F238E27FC236}">
                  <a16:creationId xmlns:a16="http://schemas.microsoft.com/office/drawing/2014/main" id="{E8881EAF-43C9-4928-B6A0-0B0D20BF9549}"/>
                </a:ext>
              </a:extLst>
            </p:cNvPr>
            <p:cNvSpPr/>
            <p:nvPr/>
          </p:nvSpPr>
          <p:spPr>
            <a:xfrm>
              <a:off x="3475466" y="9242366"/>
              <a:ext cx="27940" cy="199390"/>
            </a:xfrm>
            <a:custGeom>
              <a:avLst/>
              <a:gdLst/>
              <a:ahLst/>
              <a:cxnLst/>
              <a:rect l="l" t="t" r="r" b="b"/>
              <a:pathLst>
                <a:path w="27939" h="199390">
                  <a:moveTo>
                    <a:pt x="0" y="0"/>
                  </a:moveTo>
                  <a:lnTo>
                    <a:pt x="0" y="15046"/>
                  </a:lnTo>
                  <a:lnTo>
                    <a:pt x="0" y="142131"/>
                  </a:lnTo>
                  <a:lnTo>
                    <a:pt x="10031" y="199062"/>
                  </a:lnTo>
                  <a:lnTo>
                    <a:pt x="27590" y="199062"/>
                  </a:lnTo>
                  <a:lnTo>
                    <a:pt x="23559" y="180255"/>
                  </a:lnTo>
                  <a:lnTo>
                    <a:pt x="19740" y="159717"/>
                  </a:lnTo>
                  <a:lnTo>
                    <a:pt x="16294" y="138543"/>
                  </a:lnTo>
                  <a:lnTo>
                    <a:pt x="13381" y="117828"/>
                  </a:lnTo>
                  <a:lnTo>
                    <a:pt x="12205" y="100121"/>
                  </a:lnTo>
                  <a:lnTo>
                    <a:pt x="9491" y="35323"/>
                  </a:lnTo>
                  <a:lnTo>
                    <a:pt x="7549" y="19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D6C2B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2" name="object 178">
              <a:extLst>
                <a:ext uri="{FF2B5EF4-FFF2-40B4-BE49-F238E27FC236}">
                  <a16:creationId xmlns:a16="http://schemas.microsoft.com/office/drawing/2014/main" id="{83D35B2C-D6E8-4606-9267-EC19EFB14063}"/>
                </a:ext>
              </a:extLst>
            </p:cNvPr>
            <p:cNvSpPr/>
            <p:nvPr/>
          </p:nvSpPr>
          <p:spPr>
            <a:xfrm>
              <a:off x="4683035" y="7903159"/>
              <a:ext cx="991869" cy="1332230"/>
            </a:xfrm>
            <a:custGeom>
              <a:avLst/>
              <a:gdLst/>
              <a:ahLst/>
              <a:cxnLst/>
              <a:rect l="l" t="t" r="r" b="b"/>
              <a:pathLst>
                <a:path w="991870" h="1332229">
                  <a:moveTo>
                    <a:pt x="543501" y="0"/>
                  </a:moveTo>
                  <a:lnTo>
                    <a:pt x="0" y="92552"/>
                  </a:lnTo>
                  <a:lnTo>
                    <a:pt x="0" y="1331770"/>
                  </a:lnTo>
                  <a:lnTo>
                    <a:pt x="991425" y="1331770"/>
                  </a:lnTo>
                  <a:lnTo>
                    <a:pt x="991425" y="111137"/>
                  </a:lnTo>
                  <a:lnTo>
                    <a:pt x="543501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3" name="object 179">
              <a:extLst>
                <a:ext uri="{FF2B5EF4-FFF2-40B4-BE49-F238E27FC236}">
                  <a16:creationId xmlns:a16="http://schemas.microsoft.com/office/drawing/2014/main" id="{EFB47B6C-5189-4C3B-BD4C-E2827F329070}"/>
                </a:ext>
              </a:extLst>
            </p:cNvPr>
            <p:cNvSpPr/>
            <p:nvPr/>
          </p:nvSpPr>
          <p:spPr>
            <a:xfrm>
              <a:off x="5207618" y="7903157"/>
              <a:ext cx="38100" cy="1332230"/>
            </a:xfrm>
            <a:custGeom>
              <a:avLst/>
              <a:gdLst/>
              <a:ahLst/>
              <a:cxnLst/>
              <a:rect l="l" t="t" r="r" b="b"/>
              <a:pathLst>
                <a:path w="38100" h="1332229">
                  <a:moveTo>
                    <a:pt x="18920" y="0"/>
                  </a:moveTo>
                  <a:lnTo>
                    <a:pt x="0" y="3518"/>
                  </a:lnTo>
                  <a:lnTo>
                    <a:pt x="0" y="1331781"/>
                  </a:lnTo>
                  <a:lnTo>
                    <a:pt x="37852" y="1331781"/>
                  </a:lnTo>
                  <a:lnTo>
                    <a:pt x="37852" y="2921"/>
                  </a:lnTo>
                  <a:lnTo>
                    <a:pt x="1892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4" name="object 180">
              <a:extLst>
                <a:ext uri="{FF2B5EF4-FFF2-40B4-BE49-F238E27FC236}">
                  <a16:creationId xmlns:a16="http://schemas.microsoft.com/office/drawing/2014/main" id="{AAD30A87-C365-4179-9287-574B0475089B}"/>
                </a:ext>
              </a:extLst>
            </p:cNvPr>
            <p:cNvSpPr/>
            <p:nvPr/>
          </p:nvSpPr>
          <p:spPr>
            <a:xfrm>
              <a:off x="5226530" y="7903160"/>
              <a:ext cx="448309" cy="1332230"/>
            </a:xfrm>
            <a:custGeom>
              <a:avLst/>
              <a:gdLst/>
              <a:ahLst/>
              <a:cxnLst/>
              <a:rect l="l" t="t" r="r" b="b"/>
              <a:pathLst>
                <a:path w="448310" h="1332229">
                  <a:moveTo>
                    <a:pt x="0" y="0"/>
                  </a:moveTo>
                  <a:lnTo>
                    <a:pt x="0" y="1331770"/>
                  </a:lnTo>
                  <a:lnTo>
                    <a:pt x="447923" y="1331770"/>
                  </a:lnTo>
                  <a:lnTo>
                    <a:pt x="447923" y="11113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5" name="object 181">
              <a:extLst>
                <a:ext uri="{FF2B5EF4-FFF2-40B4-BE49-F238E27FC236}">
                  <a16:creationId xmlns:a16="http://schemas.microsoft.com/office/drawing/2014/main" id="{27ABE6DA-2C42-4F25-B7CA-98012F82184A}"/>
                </a:ext>
              </a:extLst>
            </p:cNvPr>
            <p:cNvSpPr/>
            <p:nvPr/>
          </p:nvSpPr>
          <p:spPr>
            <a:xfrm>
              <a:off x="4631968" y="7943290"/>
              <a:ext cx="1094105" cy="1525270"/>
            </a:xfrm>
            <a:custGeom>
              <a:avLst/>
              <a:gdLst/>
              <a:ahLst/>
              <a:cxnLst/>
              <a:rect l="l" t="t" r="r" b="b"/>
              <a:pathLst>
                <a:path w="1094104" h="1525270">
                  <a:moveTo>
                    <a:pt x="596285" y="0"/>
                  </a:moveTo>
                  <a:lnTo>
                    <a:pt x="0" y="98866"/>
                  </a:lnTo>
                  <a:lnTo>
                    <a:pt x="0" y="1524749"/>
                  </a:lnTo>
                  <a:lnTo>
                    <a:pt x="1093558" y="1524749"/>
                  </a:lnTo>
                  <a:lnTo>
                    <a:pt x="1093558" y="119483"/>
                  </a:lnTo>
                  <a:lnTo>
                    <a:pt x="596285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6" name="object 182">
              <a:extLst>
                <a:ext uri="{FF2B5EF4-FFF2-40B4-BE49-F238E27FC236}">
                  <a16:creationId xmlns:a16="http://schemas.microsoft.com/office/drawing/2014/main" id="{AC1F9645-0EFF-4310-A2AA-545006DF7F88}"/>
                </a:ext>
              </a:extLst>
            </p:cNvPr>
            <p:cNvSpPr/>
            <p:nvPr/>
          </p:nvSpPr>
          <p:spPr>
            <a:xfrm>
              <a:off x="5207265" y="7943286"/>
              <a:ext cx="42545" cy="1525270"/>
            </a:xfrm>
            <a:custGeom>
              <a:avLst/>
              <a:gdLst/>
              <a:ahLst/>
              <a:cxnLst/>
              <a:rect l="l" t="t" r="r" b="b"/>
              <a:pathLst>
                <a:path w="42545" h="1525270">
                  <a:moveTo>
                    <a:pt x="20994" y="0"/>
                  </a:moveTo>
                  <a:lnTo>
                    <a:pt x="0" y="3905"/>
                  </a:lnTo>
                  <a:lnTo>
                    <a:pt x="0" y="1524749"/>
                  </a:lnTo>
                  <a:lnTo>
                    <a:pt x="42019" y="1524749"/>
                  </a:lnTo>
                  <a:lnTo>
                    <a:pt x="42019" y="3235"/>
                  </a:lnTo>
                  <a:lnTo>
                    <a:pt x="20994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7" name="object 183">
              <a:extLst>
                <a:ext uri="{FF2B5EF4-FFF2-40B4-BE49-F238E27FC236}">
                  <a16:creationId xmlns:a16="http://schemas.microsoft.com/office/drawing/2014/main" id="{2662E16B-1A5E-461D-B67D-DBAB6794CA9E}"/>
                </a:ext>
              </a:extLst>
            </p:cNvPr>
            <p:cNvSpPr/>
            <p:nvPr/>
          </p:nvSpPr>
          <p:spPr>
            <a:xfrm>
              <a:off x="5228257" y="7943284"/>
              <a:ext cx="497840" cy="1525270"/>
            </a:xfrm>
            <a:custGeom>
              <a:avLst/>
              <a:gdLst/>
              <a:ahLst/>
              <a:cxnLst/>
              <a:rect l="l" t="t" r="r" b="b"/>
              <a:pathLst>
                <a:path w="497839" h="1525270">
                  <a:moveTo>
                    <a:pt x="0" y="0"/>
                  </a:moveTo>
                  <a:lnTo>
                    <a:pt x="0" y="1524749"/>
                  </a:lnTo>
                  <a:lnTo>
                    <a:pt x="497262" y="1524749"/>
                  </a:lnTo>
                  <a:lnTo>
                    <a:pt x="497262" y="1194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8" name="object 184">
              <a:extLst>
                <a:ext uri="{FF2B5EF4-FFF2-40B4-BE49-F238E27FC236}">
                  <a16:creationId xmlns:a16="http://schemas.microsoft.com/office/drawing/2014/main" id="{ADF194DE-94F8-4AD4-A649-92BB3A11077B}"/>
                </a:ext>
              </a:extLst>
            </p:cNvPr>
            <p:cNvSpPr/>
            <p:nvPr/>
          </p:nvSpPr>
          <p:spPr>
            <a:xfrm>
              <a:off x="5228257" y="8062768"/>
              <a:ext cx="497840" cy="1405890"/>
            </a:xfrm>
            <a:custGeom>
              <a:avLst/>
              <a:gdLst/>
              <a:ahLst/>
              <a:cxnLst/>
              <a:rect l="l" t="t" r="r" b="b"/>
              <a:pathLst>
                <a:path w="497839" h="1405890">
                  <a:moveTo>
                    <a:pt x="497262" y="0"/>
                  </a:moveTo>
                  <a:lnTo>
                    <a:pt x="0" y="1405266"/>
                  </a:lnTo>
                  <a:lnTo>
                    <a:pt x="497262" y="1405266"/>
                  </a:lnTo>
                  <a:lnTo>
                    <a:pt x="497262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9" name="object 185">
              <a:extLst>
                <a:ext uri="{FF2B5EF4-FFF2-40B4-BE49-F238E27FC236}">
                  <a16:creationId xmlns:a16="http://schemas.microsoft.com/office/drawing/2014/main" id="{4C1D11C3-9E61-44CB-A9DC-87C7A424CDA1}"/>
                </a:ext>
              </a:extLst>
            </p:cNvPr>
            <p:cNvSpPr/>
            <p:nvPr/>
          </p:nvSpPr>
          <p:spPr>
            <a:xfrm>
              <a:off x="4672265" y="9468046"/>
              <a:ext cx="1002665" cy="33020"/>
            </a:xfrm>
            <a:custGeom>
              <a:avLst/>
              <a:gdLst/>
              <a:ahLst/>
              <a:cxnLst/>
              <a:rect l="l" t="t" r="r" b="b"/>
              <a:pathLst>
                <a:path w="1002664" h="33020">
                  <a:moveTo>
                    <a:pt x="1002199" y="0"/>
                  </a:moveTo>
                  <a:lnTo>
                    <a:pt x="0" y="0"/>
                  </a:lnTo>
                  <a:lnTo>
                    <a:pt x="0" y="32773"/>
                  </a:lnTo>
                  <a:lnTo>
                    <a:pt x="1002199" y="32773"/>
                  </a:lnTo>
                  <a:lnTo>
                    <a:pt x="1002199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0" name="object 186">
              <a:extLst>
                <a:ext uri="{FF2B5EF4-FFF2-40B4-BE49-F238E27FC236}">
                  <a16:creationId xmlns:a16="http://schemas.microsoft.com/office/drawing/2014/main" id="{860091BA-D76E-4DF2-996C-931E22E3811F}"/>
                </a:ext>
              </a:extLst>
            </p:cNvPr>
            <p:cNvSpPr/>
            <p:nvPr/>
          </p:nvSpPr>
          <p:spPr>
            <a:xfrm>
              <a:off x="4703468" y="8057267"/>
              <a:ext cx="450215" cy="1308100"/>
            </a:xfrm>
            <a:custGeom>
              <a:avLst/>
              <a:gdLst/>
              <a:ahLst/>
              <a:cxnLst/>
              <a:rect l="l" t="t" r="r" b="b"/>
              <a:pathLst>
                <a:path w="450214" h="1308100">
                  <a:moveTo>
                    <a:pt x="450185" y="0"/>
                  </a:moveTo>
                  <a:lnTo>
                    <a:pt x="0" y="69170"/>
                  </a:lnTo>
                  <a:lnTo>
                    <a:pt x="0" y="1307698"/>
                  </a:lnTo>
                  <a:lnTo>
                    <a:pt x="450185" y="1299929"/>
                  </a:lnTo>
                  <a:lnTo>
                    <a:pt x="450185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1" name="object 187">
              <a:extLst>
                <a:ext uri="{FF2B5EF4-FFF2-40B4-BE49-F238E27FC236}">
                  <a16:creationId xmlns:a16="http://schemas.microsoft.com/office/drawing/2014/main" id="{48B8B090-0CBD-48C8-841E-DD69853A6CE9}"/>
                </a:ext>
              </a:extLst>
            </p:cNvPr>
            <p:cNvSpPr/>
            <p:nvPr/>
          </p:nvSpPr>
          <p:spPr>
            <a:xfrm>
              <a:off x="4703475" y="8621891"/>
              <a:ext cx="87630" cy="253365"/>
            </a:xfrm>
            <a:custGeom>
              <a:avLst/>
              <a:gdLst/>
              <a:ahLst/>
              <a:cxnLst/>
              <a:rect l="l" t="t" r="r" b="b"/>
              <a:pathLst>
                <a:path w="87629" h="253365">
                  <a:moveTo>
                    <a:pt x="87033" y="0"/>
                  </a:moveTo>
                  <a:lnTo>
                    <a:pt x="0" y="13381"/>
                  </a:lnTo>
                  <a:lnTo>
                    <a:pt x="0" y="252850"/>
                  </a:lnTo>
                  <a:lnTo>
                    <a:pt x="87033" y="246285"/>
                  </a:lnTo>
                  <a:lnTo>
                    <a:pt x="87033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2" name="object 188">
              <a:extLst>
                <a:ext uri="{FF2B5EF4-FFF2-40B4-BE49-F238E27FC236}">
                  <a16:creationId xmlns:a16="http://schemas.microsoft.com/office/drawing/2014/main" id="{85A663F3-E58F-4A21-8D69-70546C8993A0}"/>
                </a:ext>
              </a:extLst>
            </p:cNvPr>
            <p:cNvSpPr/>
            <p:nvPr/>
          </p:nvSpPr>
          <p:spPr>
            <a:xfrm>
              <a:off x="4848809" y="7712728"/>
              <a:ext cx="1387475" cy="1546225"/>
            </a:xfrm>
            <a:custGeom>
              <a:avLst/>
              <a:gdLst/>
              <a:ahLst/>
              <a:cxnLst/>
              <a:rect l="l" t="t" r="r" b="b"/>
              <a:pathLst>
                <a:path w="1387475" h="1546225">
                  <a:moveTo>
                    <a:pt x="131597" y="633006"/>
                  </a:moveTo>
                  <a:lnTo>
                    <a:pt x="65798" y="642747"/>
                  </a:lnTo>
                  <a:lnTo>
                    <a:pt x="85648" y="478510"/>
                  </a:lnTo>
                  <a:lnTo>
                    <a:pt x="0" y="691921"/>
                  </a:lnTo>
                  <a:lnTo>
                    <a:pt x="65608" y="683412"/>
                  </a:lnTo>
                  <a:lnTo>
                    <a:pt x="54571" y="862888"/>
                  </a:lnTo>
                  <a:lnTo>
                    <a:pt x="131597" y="633006"/>
                  </a:lnTo>
                  <a:close/>
                </a:path>
                <a:path w="1387475" h="1546225">
                  <a:moveTo>
                    <a:pt x="1387297" y="98069"/>
                  </a:moveTo>
                  <a:lnTo>
                    <a:pt x="992047" y="0"/>
                  </a:lnTo>
                  <a:lnTo>
                    <a:pt x="569036" y="81673"/>
                  </a:lnTo>
                  <a:lnTo>
                    <a:pt x="569036" y="1545742"/>
                  </a:lnTo>
                  <a:lnTo>
                    <a:pt x="1387297" y="1545742"/>
                  </a:lnTo>
                  <a:lnTo>
                    <a:pt x="1387297" y="98069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3" name="object 189">
              <a:extLst>
                <a:ext uri="{FF2B5EF4-FFF2-40B4-BE49-F238E27FC236}">
                  <a16:creationId xmlns:a16="http://schemas.microsoft.com/office/drawing/2014/main" id="{2155765C-A6B4-4945-B83D-C2767A1B2A7B}"/>
                </a:ext>
              </a:extLst>
            </p:cNvPr>
            <p:cNvSpPr/>
            <p:nvPr/>
          </p:nvSpPr>
          <p:spPr>
            <a:xfrm>
              <a:off x="5824182" y="7712712"/>
              <a:ext cx="33655" cy="1546225"/>
            </a:xfrm>
            <a:custGeom>
              <a:avLst/>
              <a:gdLst/>
              <a:ahLst/>
              <a:cxnLst/>
              <a:rect l="l" t="t" r="r" b="b"/>
              <a:pathLst>
                <a:path w="33654" h="1546225">
                  <a:moveTo>
                    <a:pt x="16680" y="0"/>
                  </a:moveTo>
                  <a:lnTo>
                    <a:pt x="0" y="3109"/>
                  </a:lnTo>
                  <a:lnTo>
                    <a:pt x="0" y="1545743"/>
                  </a:lnTo>
                  <a:lnTo>
                    <a:pt x="33381" y="1545743"/>
                  </a:lnTo>
                  <a:lnTo>
                    <a:pt x="33381" y="2575"/>
                  </a:lnTo>
                  <a:lnTo>
                    <a:pt x="1668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4" name="object 190">
              <a:extLst>
                <a:ext uri="{FF2B5EF4-FFF2-40B4-BE49-F238E27FC236}">
                  <a16:creationId xmlns:a16="http://schemas.microsoft.com/office/drawing/2014/main" id="{284C7681-4145-438F-AEBE-ADD00AF4BAC1}"/>
                </a:ext>
              </a:extLst>
            </p:cNvPr>
            <p:cNvSpPr/>
            <p:nvPr/>
          </p:nvSpPr>
          <p:spPr>
            <a:xfrm>
              <a:off x="5840862" y="7712717"/>
              <a:ext cx="395605" cy="1546225"/>
            </a:xfrm>
            <a:custGeom>
              <a:avLst/>
              <a:gdLst/>
              <a:ahLst/>
              <a:cxnLst/>
              <a:rect l="l" t="t" r="r" b="b"/>
              <a:pathLst>
                <a:path w="395604" h="1546225">
                  <a:moveTo>
                    <a:pt x="0" y="0"/>
                  </a:moveTo>
                  <a:lnTo>
                    <a:pt x="0" y="1545733"/>
                  </a:lnTo>
                  <a:lnTo>
                    <a:pt x="395254" y="1545733"/>
                  </a:lnTo>
                  <a:lnTo>
                    <a:pt x="395254" y="9808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5" name="object 191">
              <a:extLst>
                <a:ext uri="{FF2B5EF4-FFF2-40B4-BE49-F238E27FC236}">
                  <a16:creationId xmlns:a16="http://schemas.microsoft.com/office/drawing/2014/main" id="{F06E2A64-7F3A-4DE8-9A22-356399A5F78D}"/>
                </a:ext>
              </a:extLst>
            </p:cNvPr>
            <p:cNvSpPr/>
            <p:nvPr/>
          </p:nvSpPr>
          <p:spPr>
            <a:xfrm>
              <a:off x="5372784" y="7748144"/>
              <a:ext cx="908685" cy="1716405"/>
            </a:xfrm>
            <a:custGeom>
              <a:avLst/>
              <a:gdLst/>
              <a:ahLst/>
              <a:cxnLst/>
              <a:rect l="l" t="t" r="r" b="b"/>
              <a:pathLst>
                <a:path w="908685" h="1716404">
                  <a:moveTo>
                    <a:pt x="469608" y="0"/>
                  </a:moveTo>
                  <a:lnTo>
                    <a:pt x="0" y="87232"/>
                  </a:lnTo>
                  <a:lnTo>
                    <a:pt x="0" y="1716000"/>
                  </a:lnTo>
                  <a:lnTo>
                    <a:pt x="908401" y="1716000"/>
                  </a:lnTo>
                  <a:lnTo>
                    <a:pt x="908401" y="105420"/>
                  </a:lnTo>
                  <a:lnTo>
                    <a:pt x="469608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6" name="object 192">
              <a:extLst>
                <a:ext uri="{FF2B5EF4-FFF2-40B4-BE49-F238E27FC236}">
                  <a16:creationId xmlns:a16="http://schemas.microsoft.com/office/drawing/2014/main" id="{8A1387BE-031E-4965-8EBA-19679CF333A2}"/>
                </a:ext>
              </a:extLst>
            </p:cNvPr>
            <p:cNvSpPr/>
            <p:nvPr/>
          </p:nvSpPr>
          <p:spPr>
            <a:xfrm>
              <a:off x="5823856" y="7748140"/>
              <a:ext cx="37465" cy="1716405"/>
            </a:xfrm>
            <a:custGeom>
              <a:avLst/>
              <a:gdLst/>
              <a:ahLst/>
              <a:cxnLst/>
              <a:rect l="l" t="t" r="r" b="b"/>
              <a:pathLst>
                <a:path w="37464" h="1716404">
                  <a:moveTo>
                    <a:pt x="18543" y="0"/>
                  </a:moveTo>
                  <a:lnTo>
                    <a:pt x="0" y="3423"/>
                  </a:lnTo>
                  <a:lnTo>
                    <a:pt x="0" y="1716000"/>
                  </a:lnTo>
                  <a:lnTo>
                    <a:pt x="37087" y="1716000"/>
                  </a:lnTo>
                  <a:lnTo>
                    <a:pt x="37087" y="2837"/>
                  </a:lnTo>
                  <a:lnTo>
                    <a:pt x="18543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7" name="object 193">
              <a:extLst>
                <a:ext uri="{FF2B5EF4-FFF2-40B4-BE49-F238E27FC236}">
                  <a16:creationId xmlns:a16="http://schemas.microsoft.com/office/drawing/2014/main" id="{A04F457D-136B-4697-9EA8-6FF3839F35E3}"/>
                </a:ext>
              </a:extLst>
            </p:cNvPr>
            <p:cNvSpPr/>
            <p:nvPr/>
          </p:nvSpPr>
          <p:spPr>
            <a:xfrm>
              <a:off x="5842389" y="7748143"/>
              <a:ext cx="439420" cy="1716405"/>
            </a:xfrm>
            <a:custGeom>
              <a:avLst/>
              <a:gdLst/>
              <a:ahLst/>
              <a:cxnLst/>
              <a:rect l="l" t="t" r="r" b="b"/>
              <a:pathLst>
                <a:path w="439420" h="1716404">
                  <a:moveTo>
                    <a:pt x="0" y="0"/>
                  </a:moveTo>
                  <a:lnTo>
                    <a:pt x="0" y="1716000"/>
                  </a:lnTo>
                  <a:lnTo>
                    <a:pt x="438803" y="1716000"/>
                  </a:lnTo>
                  <a:lnTo>
                    <a:pt x="438803" y="1054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8" name="object 194">
              <a:extLst>
                <a:ext uri="{FF2B5EF4-FFF2-40B4-BE49-F238E27FC236}">
                  <a16:creationId xmlns:a16="http://schemas.microsoft.com/office/drawing/2014/main" id="{A7018963-42AD-4006-BF32-FD200C49327F}"/>
                </a:ext>
              </a:extLst>
            </p:cNvPr>
            <p:cNvSpPr/>
            <p:nvPr/>
          </p:nvSpPr>
          <p:spPr>
            <a:xfrm>
              <a:off x="5842389" y="7853564"/>
              <a:ext cx="439420" cy="1610995"/>
            </a:xfrm>
            <a:custGeom>
              <a:avLst/>
              <a:gdLst/>
              <a:ahLst/>
              <a:cxnLst/>
              <a:rect l="l" t="t" r="r" b="b"/>
              <a:pathLst>
                <a:path w="439420" h="1610995">
                  <a:moveTo>
                    <a:pt x="438803" y="0"/>
                  </a:moveTo>
                  <a:lnTo>
                    <a:pt x="0" y="1610579"/>
                  </a:lnTo>
                  <a:lnTo>
                    <a:pt x="438803" y="1610579"/>
                  </a:lnTo>
                  <a:lnTo>
                    <a:pt x="438803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9" name="object 195">
              <a:extLst>
                <a:ext uri="{FF2B5EF4-FFF2-40B4-BE49-F238E27FC236}">
                  <a16:creationId xmlns:a16="http://schemas.microsoft.com/office/drawing/2014/main" id="{F405471D-725A-4890-9A38-F30C6825C6EE}"/>
                </a:ext>
              </a:extLst>
            </p:cNvPr>
            <p:cNvSpPr/>
            <p:nvPr/>
          </p:nvSpPr>
          <p:spPr>
            <a:xfrm>
              <a:off x="5417845" y="9464151"/>
              <a:ext cx="818515" cy="36830"/>
            </a:xfrm>
            <a:custGeom>
              <a:avLst/>
              <a:gdLst/>
              <a:ahLst/>
              <a:cxnLst/>
              <a:rect l="l" t="t" r="r" b="b"/>
              <a:pathLst>
                <a:path w="818514" h="36829">
                  <a:moveTo>
                    <a:pt x="818268" y="0"/>
                  </a:moveTo>
                  <a:lnTo>
                    <a:pt x="0" y="0"/>
                  </a:lnTo>
                  <a:lnTo>
                    <a:pt x="0" y="36669"/>
                  </a:lnTo>
                  <a:lnTo>
                    <a:pt x="818268" y="36669"/>
                  </a:lnTo>
                  <a:lnTo>
                    <a:pt x="818268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0" name="object 196">
              <a:extLst>
                <a:ext uri="{FF2B5EF4-FFF2-40B4-BE49-F238E27FC236}">
                  <a16:creationId xmlns:a16="http://schemas.microsoft.com/office/drawing/2014/main" id="{AE7960F6-87EF-4ADF-BCC9-1669855566BD}"/>
                </a:ext>
              </a:extLst>
            </p:cNvPr>
            <p:cNvSpPr/>
            <p:nvPr/>
          </p:nvSpPr>
          <p:spPr>
            <a:xfrm>
              <a:off x="5435875" y="8031738"/>
              <a:ext cx="340995" cy="1252220"/>
            </a:xfrm>
            <a:custGeom>
              <a:avLst/>
              <a:gdLst/>
              <a:ahLst/>
              <a:cxnLst/>
              <a:rect l="l" t="t" r="r" b="b"/>
              <a:pathLst>
                <a:path w="340995" h="1252220">
                  <a:moveTo>
                    <a:pt x="340670" y="0"/>
                  </a:moveTo>
                  <a:lnTo>
                    <a:pt x="0" y="56574"/>
                  </a:lnTo>
                  <a:lnTo>
                    <a:pt x="0" y="1252181"/>
                  </a:lnTo>
                  <a:lnTo>
                    <a:pt x="340670" y="1240841"/>
                  </a:lnTo>
                  <a:lnTo>
                    <a:pt x="340670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1" name="object 197">
              <a:extLst>
                <a:ext uri="{FF2B5EF4-FFF2-40B4-BE49-F238E27FC236}">
                  <a16:creationId xmlns:a16="http://schemas.microsoft.com/office/drawing/2014/main" id="{EE866EC2-3768-4FE4-9EE0-7E797075ECF0}"/>
                </a:ext>
              </a:extLst>
            </p:cNvPr>
            <p:cNvSpPr/>
            <p:nvPr/>
          </p:nvSpPr>
          <p:spPr>
            <a:xfrm>
              <a:off x="5435875" y="8031738"/>
              <a:ext cx="340995" cy="76835"/>
            </a:xfrm>
            <a:custGeom>
              <a:avLst/>
              <a:gdLst/>
              <a:ahLst/>
              <a:cxnLst/>
              <a:rect l="l" t="t" r="r" b="b"/>
              <a:pathLst>
                <a:path w="340995" h="76834">
                  <a:moveTo>
                    <a:pt x="340670" y="0"/>
                  </a:moveTo>
                  <a:lnTo>
                    <a:pt x="0" y="56574"/>
                  </a:lnTo>
                  <a:lnTo>
                    <a:pt x="0" y="76385"/>
                  </a:lnTo>
                  <a:lnTo>
                    <a:pt x="340670" y="19821"/>
                  </a:lnTo>
                  <a:lnTo>
                    <a:pt x="340670" y="0"/>
                  </a:lnTo>
                  <a:close/>
                </a:path>
              </a:pathLst>
            </a:custGeom>
            <a:solidFill>
              <a:srgbClr val="404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2" name="object 198">
              <a:extLst>
                <a:ext uri="{FF2B5EF4-FFF2-40B4-BE49-F238E27FC236}">
                  <a16:creationId xmlns:a16="http://schemas.microsoft.com/office/drawing/2014/main" id="{52EEAAAE-EE33-4623-92BC-08425996D9F2}"/>
                </a:ext>
              </a:extLst>
            </p:cNvPr>
            <p:cNvSpPr/>
            <p:nvPr/>
          </p:nvSpPr>
          <p:spPr>
            <a:xfrm>
              <a:off x="5435875" y="9272585"/>
              <a:ext cx="340995" cy="28575"/>
            </a:xfrm>
            <a:custGeom>
              <a:avLst/>
              <a:gdLst/>
              <a:ahLst/>
              <a:cxnLst/>
              <a:rect l="l" t="t" r="r" b="b"/>
              <a:pathLst>
                <a:path w="340995" h="28575">
                  <a:moveTo>
                    <a:pt x="340670" y="0"/>
                  </a:moveTo>
                  <a:lnTo>
                    <a:pt x="0" y="11339"/>
                  </a:lnTo>
                  <a:lnTo>
                    <a:pt x="0" y="28564"/>
                  </a:lnTo>
                  <a:lnTo>
                    <a:pt x="340670" y="17235"/>
                  </a:lnTo>
                  <a:lnTo>
                    <a:pt x="34067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3" name="object 199">
              <a:extLst>
                <a:ext uri="{FF2B5EF4-FFF2-40B4-BE49-F238E27FC236}">
                  <a16:creationId xmlns:a16="http://schemas.microsoft.com/office/drawing/2014/main" id="{73792D3A-CC6C-43A4-9FCD-EFD025B404BB}"/>
                </a:ext>
              </a:extLst>
            </p:cNvPr>
            <p:cNvSpPr/>
            <p:nvPr/>
          </p:nvSpPr>
          <p:spPr>
            <a:xfrm>
              <a:off x="5481536" y="8096662"/>
              <a:ext cx="250825" cy="1139825"/>
            </a:xfrm>
            <a:custGeom>
              <a:avLst/>
              <a:gdLst/>
              <a:ahLst/>
              <a:cxnLst/>
              <a:rect l="l" t="t" r="r" b="b"/>
              <a:pathLst>
                <a:path w="250825" h="1139825">
                  <a:moveTo>
                    <a:pt x="52857" y="85826"/>
                  </a:moveTo>
                  <a:lnTo>
                    <a:pt x="52819" y="33020"/>
                  </a:lnTo>
                  <a:lnTo>
                    <a:pt x="0" y="41795"/>
                  </a:lnTo>
                  <a:lnTo>
                    <a:pt x="25" y="94322"/>
                  </a:lnTo>
                  <a:lnTo>
                    <a:pt x="52857" y="85826"/>
                  </a:lnTo>
                  <a:close/>
                </a:path>
                <a:path w="250825" h="1139825">
                  <a:moveTo>
                    <a:pt x="52908" y="191173"/>
                  </a:moveTo>
                  <a:lnTo>
                    <a:pt x="52882" y="138379"/>
                  </a:lnTo>
                  <a:lnTo>
                    <a:pt x="76" y="146596"/>
                  </a:lnTo>
                  <a:lnTo>
                    <a:pt x="88" y="199110"/>
                  </a:lnTo>
                  <a:lnTo>
                    <a:pt x="52908" y="191173"/>
                  </a:lnTo>
                  <a:close/>
                </a:path>
                <a:path w="250825" h="1139825">
                  <a:moveTo>
                    <a:pt x="52959" y="296456"/>
                  </a:moveTo>
                  <a:lnTo>
                    <a:pt x="52933" y="243674"/>
                  </a:lnTo>
                  <a:lnTo>
                    <a:pt x="127" y="251307"/>
                  </a:lnTo>
                  <a:lnTo>
                    <a:pt x="177" y="303796"/>
                  </a:lnTo>
                  <a:lnTo>
                    <a:pt x="52959" y="296456"/>
                  </a:lnTo>
                  <a:close/>
                </a:path>
                <a:path w="250825" h="1139825">
                  <a:moveTo>
                    <a:pt x="53009" y="401713"/>
                  </a:moveTo>
                  <a:lnTo>
                    <a:pt x="52984" y="348970"/>
                  </a:lnTo>
                  <a:lnTo>
                    <a:pt x="190" y="356019"/>
                  </a:lnTo>
                  <a:lnTo>
                    <a:pt x="203" y="408470"/>
                  </a:lnTo>
                  <a:lnTo>
                    <a:pt x="53009" y="401713"/>
                  </a:lnTo>
                  <a:close/>
                </a:path>
                <a:path w="250825" h="1139825">
                  <a:moveTo>
                    <a:pt x="53060" y="506920"/>
                  </a:moveTo>
                  <a:lnTo>
                    <a:pt x="53035" y="454202"/>
                  </a:lnTo>
                  <a:lnTo>
                    <a:pt x="241" y="460654"/>
                  </a:lnTo>
                  <a:lnTo>
                    <a:pt x="266" y="513054"/>
                  </a:lnTo>
                  <a:lnTo>
                    <a:pt x="53060" y="506920"/>
                  </a:lnTo>
                  <a:close/>
                </a:path>
                <a:path w="250825" h="1139825">
                  <a:moveTo>
                    <a:pt x="53098" y="612063"/>
                  </a:moveTo>
                  <a:lnTo>
                    <a:pt x="53060" y="559384"/>
                  </a:lnTo>
                  <a:lnTo>
                    <a:pt x="304" y="565238"/>
                  </a:lnTo>
                  <a:lnTo>
                    <a:pt x="342" y="617639"/>
                  </a:lnTo>
                  <a:lnTo>
                    <a:pt x="53098" y="612063"/>
                  </a:lnTo>
                  <a:close/>
                </a:path>
                <a:path w="250825" h="1139825">
                  <a:moveTo>
                    <a:pt x="53124" y="717194"/>
                  </a:moveTo>
                  <a:lnTo>
                    <a:pt x="53111" y="664514"/>
                  </a:lnTo>
                  <a:lnTo>
                    <a:pt x="355" y="669785"/>
                  </a:lnTo>
                  <a:lnTo>
                    <a:pt x="393" y="722172"/>
                  </a:lnTo>
                  <a:lnTo>
                    <a:pt x="53124" y="717194"/>
                  </a:lnTo>
                  <a:close/>
                </a:path>
                <a:path w="250825" h="1139825">
                  <a:moveTo>
                    <a:pt x="53187" y="822236"/>
                  </a:moveTo>
                  <a:lnTo>
                    <a:pt x="53174" y="769594"/>
                  </a:lnTo>
                  <a:lnTo>
                    <a:pt x="419" y="774268"/>
                  </a:lnTo>
                  <a:lnTo>
                    <a:pt x="457" y="826630"/>
                  </a:lnTo>
                  <a:lnTo>
                    <a:pt x="53187" y="822236"/>
                  </a:lnTo>
                  <a:close/>
                </a:path>
                <a:path w="250825" h="1139825">
                  <a:moveTo>
                    <a:pt x="53213" y="927265"/>
                  </a:moveTo>
                  <a:lnTo>
                    <a:pt x="53200" y="874623"/>
                  </a:lnTo>
                  <a:lnTo>
                    <a:pt x="482" y="878713"/>
                  </a:lnTo>
                  <a:lnTo>
                    <a:pt x="508" y="931062"/>
                  </a:lnTo>
                  <a:lnTo>
                    <a:pt x="53213" y="927265"/>
                  </a:lnTo>
                  <a:close/>
                </a:path>
                <a:path w="250825" h="1139825">
                  <a:moveTo>
                    <a:pt x="53276" y="1032217"/>
                  </a:moveTo>
                  <a:lnTo>
                    <a:pt x="53251" y="979614"/>
                  </a:lnTo>
                  <a:lnTo>
                    <a:pt x="546" y="983119"/>
                  </a:lnTo>
                  <a:lnTo>
                    <a:pt x="584" y="1035431"/>
                  </a:lnTo>
                  <a:lnTo>
                    <a:pt x="53276" y="1032217"/>
                  </a:lnTo>
                  <a:close/>
                </a:path>
                <a:path w="250825" h="1139825">
                  <a:moveTo>
                    <a:pt x="53327" y="1137119"/>
                  </a:moveTo>
                  <a:lnTo>
                    <a:pt x="53301" y="1084541"/>
                  </a:lnTo>
                  <a:lnTo>
                    <a:pt x="596" y="1087462"/>
                  </a:lnTo>
                  <a:lnTo>
                    <a:pt x="635" y="1139748"/>
                  </a:lnTo>
                  <a:lnTo>
                    <a:pt x="53327" y="1137119"/>
                  </a:lnTo>
                  <a:close/>
                </a:path>
                <a:path w="250825" h="1139825">
                  <a:moveTo>
                    <a:pt x="150787" y="16662"/>
                  </a:moveTo>
                  <a:lnTo>
                    <a:pt x="96850" y="25654"/>
                  </a:lnTo>
                  <a:lnTo>
                    <a:pt x="96888" y="78740"/>
                  </a:lnTo>
                  <a:lnTo>
                    <a:pt x="150787" y="70027"/>
                  </a:lnTo>
                  <a:lnTo>
                    <a:pt x="150787" y="16662"/>
                  </a:lnTo>
                  <a:close/>
                </a:path>
                <a:path w="250825" h="1139825">
                  <a:moveTo>
                    <a:pt x="150799" y="123139"/>
                  </a:moveTo>
                  <a:lnTo>
                    <a:pt x="96888" y="131533"/>
                  </a:lnTo>
                  <a:lnTo>
                    <a:pt x="96913" y="184581"/>
                  </a:lnTo>
                  <a:lnTo>
                    <a:pt x="150799" y="176504"/>
                  </a:lnTo>
                  <a:lnTo>
                    <a:pt x="150799" y="123139"/>
                  </a:lnTo>
                  <a:close/>
                </a:path>
                <a:path w="250825" h="1139825">
                  <a:moveTo>
                    <a:pt x="150850" y="282879"/>
                  </a:moveTo>
                  <a:lnTo>
                    <a:pt x="150825" y="229539"/>
                  </a:lnTo>
                  <a:lnTo>
                    <a:pt x="96939" y="237337"/>
                  </a:lnTo>
                  <a:lnTo>
                    <a:pt x="96951" y="290334"/>
                  </a:lnTo>
                  <a:lnTo>
                    <a:pt x="150850" y="282879"/>
                  </a:lnTo>
                  <a:close/>
                </a:path>
                <a:path w="250825" h="1139825">
                  <a:moveTo>
                    <a:pt x="150863" y="335927"/>
                  </a:moveTo>
                  <a:lnTo>
                    <a:pt x="96951" y="343103"/>
                  </a:lnTo>
                  <a:lnTo>
                    <a:pt x="96977" y="396087"/>
                  </a:lnTo>
                  <a:lnTo>
                    <a:pt x="150863" y="389216"/>
                  </a:lnTo>
                  <a:lnTo>
                    <a:pt x="150863" y="335927"/>
                  </a:lnTo>
                  <a:close/>
                </a:path>
                <a:path w="250825" h="1139825">
                  <a:moveTo>
                    <a:pt x="150888" y="442252"/>
                  </a:moveTo>
                  <a:lnTo>
                    <a:pt x="97002" y="448830"/>
                  </a:lnTo>
                  <a:lnTo>
                    <a:pt x="97015" y="501815"/>
                  </a:lnTo>
                  <a:lnTo>
                    <a:pt x="150888" y="495515"/>
                  </a:lnTo>
                  <a:lnTo>
                    <a:pt x="150888" y="442252"/>
                  </a:lnTo>
                  <a:close/>
                </a:path>
                <a:path w="250825" h="1139825">
                  <a:moveTo>
                    <a:pt x="150926" y="654748"/>
                  </a:moveTo>
                  <a:lnTo>
                    <a:pt x="97078" y="660133"/>
                  </a:lnTo>
                  <a:lnTo>
                    <a:pt x="97091" y="713066"/>
                  </a:lnTo>
                  <a:lnTo>
                    <a:pt x="150926" y="707986"/>
                  </a:lnTo>
                  <a:lnTo>
                    <a:pt x="150926" y="654748"/>
                  </a:lnTo>
                  <a:close/>
                </a:path>
                <a:path w="250825" h="1139825">
                  <a:moveTo>
                    <a:pt x="150939" y="601789"/>
                  </a:moveTo>
                  <a:lnTo>
                    <a:pt x="150914" y="548538"/>
                  </a:lnTo>
                  <a:lnTo>
                    <a:pt x="97028" y="554507"/>
                  </a:lnTo>
                  <a:lnTo>
                    <a:pt x="97066" y="607428"/>
                  </a:lnTo>
                  <a:lnTo>
                    <a:pt x="150939" y="601789"/>
                  </a:lnTo>
                  <a:close/>
                </a:path>
                <a:path w="250825" h="1139825">
                  <a:moveTo>
                    <a:pt x="150952" y="760907"/>
                  </a:moveTo>
                  <a:lnTo>
                    <a:pt x="97116" y="765695"/>
                  </a:lnTo>
                  <a:lnTo>
                    <a:pt x="97142" y="818591"/>
                  </a:lnTo>
                  <a:lnTo>
                    <a:pt x="150952" y="814120"/>
                  </a:lnTo>
                  <a:lnTo>
                    <a:pt x="150952" y="760907"/>
                  </a:lnTo>
                  <a:close/>
                </a:path>
                <a:path w="250825" h="1139825">
                  <a:moveTo>
                    <a:pt x="150977" y="920203"/>
                  </a:moveTo>
                  <a:lnTo>
                    <a:pt x="150964" y="867054"/>
                  </a:lnTo>
                  <a:lnTo>
                    <a:pt x="97155" y="871207"/>
                  </a:lnTo>
                  <a:lnTo>
                    <a:pt x="97167" y="924077"/>
                  </a:lnTo>
                  <a:lnTo>
                    <a:pt x="150977" y="920203"/>
                  </a:lnTo>
                  <a:close/>
                </a:path>
                <a:path w="250825" h="1139825">
                  <a:moveTo>
                    <a:pt x="151015" y="1026274"/>
                  </a:moveTo>
                  <a:lnTo>
                    <a:pt x="150990" y="973137"/>
                  </a:lnTo>
                  <a:lnTo>
                    <a:pt x="97193" y="976693"/>
                  </a:lnTo>
                  <a:lnTo>
                    <a:pt x="97205" y="1029538"/>
                  </a:lnTo>
                  <a:lnTo>
                    <a:pt x="151015" y="1026274"/>
                  </a:lnTo>
                  <a:close/>
                </a:path>
                <a:path w="250825" h="1139825">
                  <a:moveTo>
                    <a:pt x="151028" y="1079157"/>
                  </a:moveTo>
                  <a:lnTo>
                    <a:pt x="97218" y="1082103"/>
                  </a:lnTo>
                  <a:lnTo>
                    <a:pt x="97243" y="1134948"/>
                  </a:lnTo>
                  <a:lnTo>
                    <a:pt x="151028" y="1132268"/>
                  </a:lnTo>
                  <a:lnTo>
                    <a:pt x="151028" y="1079157"/>
                  </a:lnTo>
                  <a:close/>
                </a:path>
                <a:path w="250825" h="1139825">
                  <a:moveTo>
                    <a:pt x="250774" y="859307"/>
                  </a:moveTo>
                  <a:lnTo>
                    <a:pt x="195808" y="863561"/>
                  </a:lnTo>
                  <a:lnTo>
                    <a:pt x="195808" y="916990"/>
                  </a:lnTo>
                  <a:lnTo>
                    <a:pt x="250774" y="913015"/>
                  </a:lnTo>
                  <a:lnTo>
                    <a:pt x="250774" y="859307"/>
                  </a:lnTo>
                  <a:close/>
                </a:path>
                <a:path w="250825" h="1139825">
                  <a:moveTo>
                    <a:pt x="250774" y="752055"/>
                  </a:moveTo>
                  <a:lnTo>
                    <a:pt x="195795" y="756945"/>
                  </a:lnTo>
                  <a:lnTo>
                    <a:pt x="195808" y="810399"/>
                  </a:lnTo>
                  <a:lnTo>
                    <a:pt x="250774" y="805827"/>
                  </a:lnTo>
                  <a:lnTo>
                    <a:pt x="250774" y="752055"/>
                  </a:lnTo>
                  <a:close/>
                </a:path>
                <a:path w="250825" h="1139825">
                  <a:moveTo>
                    <a:pt x="250774" y="644779"/>
                  </a:moveTo>
                  <a:lnTo>
                    <a:pt x="195795" y="650278"/>
                  </a:lnTo>
                  <a:lnTo>
                    <a:pt x="195795" y="703745"/>
                  </a:lnTo>
                  <a:lnTo>
                    <a:pt x="250774" y="698576"/>
                  </a:lnTo>
                  <a:lnTo>
                    <a:pt x="250774" y="644779"/>
                  </a:lnTo>
                  <a:close/>
                </a:path>
                <a:path w="250825" h="1139825">
                  <a:moveTo>
                    <a:pt x="250774" y="537438"/>
                  </a:moveTo>
                  <a:lnTo>
                    <a:pt x="195795" y="543534"/>
                  </a:lnTo>
                  <a:lnTo>
                    <a:pt x="195795" y="597039"/>
                  </a:lnTo>
                  <a:lnTo>
                    <a:pt x="250774" y="591248"/>
                  </a:lnTo>
                  <a:lnTo>
                    <a:pt x="250774" y="537438"/>
                  </a:lnTo>
                  <a:close/>
                </a:path>
                <a:path w="250825" h="1139825">
                  <a:moveTo>
                    <a:pt x="250774" y="430047"/>
                  </a:moveTo>
                  <a:lnTo>
                    <a:pt x="195783" y="436778"/>
                  </a:lnTo>
                  <a:lnTo>
                    <a:pt x="195795" y="490283"/>
                  </a:lnTo>
                  <a:lnTo>
                    <a:pt x="250774" y="483882"/>
                  </a:lnTo>
                  <a:lnTo>
                    <a:pt x="250774" y="430047"/>
                  </a:lnTo>
                  <a:close/>
                </a:path>
                <a:path w="250825" h="1139825">
                  <a:moveTo>
                    <a:pt x="250774" y="322605"/>
                  </a:moveTo>
                  <a:lnTo>
                    <a:pt x="195757" y="329971"/>
                  </a:lnTo>
                  <a:lnTo>
                    <a:pt x="195783" y="383476"/>
                  </a:lnTo>
                  <a:lnTo>
                    <a:pt x="250774" y="376466"/>
                  </a:lnTo>
                  <a:lnTo>
                    <a:pt x="250774" y="322605"/>
                  </a:lnTo>
                  <a:close/>
                </a:path>
                <a:path w="250825" h="1139825">
                  <a:moveTo>
                    <a:pt x="250774" y="215099"/>
                  </a:moveTo>
                  <a:lnTo>
                    <a:pt x="195757" y="223062"/>
                  </a:lnTo>
                  <a:lnTo>
                    <a:pt x="195757" y="276631"/>
                  </a:lnTo>
                  <a:lnTo>
                    <a:pt x="250774" y="268998"/>
                  </a:lnTo>
                  <a:lnTo>
                    <a:pt x="250774" y="215099"/>
                  </a:lnTo>
                  <a:close/>
                </a:path>
                <a:path w="250825" h="1139825">
                  <a:moveTo>
                    <a:pt x="250774" y="107581"/>
                  </a:moveTo>
                  <a:lnTo>
                    <a:pt x="195745" y="116166"/>
                  </a:lnTo>
                  <a:lnTo>
                    <a:pt x="195745" y="169748"/>
                  </a:lnTo>
                  <a:lnTo>
                    <a:pt x="250774" y="161505"/>
                  </a:lnTo>
                  <a:lnTo>
                    <a:pt x="250774" y="107581"/>
                  </a:lnTo>
                  <a:close/>
                </a:path>
                <a:path w="250825" h="1139825">
                  <a:moveTo>
                    <a:pt x="250774" y="0"/>
                  </a:moveTo>
                  <a:lnTo>
                    <a:pt x="195732" y="9194"/>
                  </a:lnTo>
                  <a:lnTo>
                    <a:pt x="195732" y="62788"/>
                  </a:lnTo>
                  <a:lnTo>
                    <a:pt x="250774" y="53924"/>
                  </a:lnTo>
                  <a:lnTo>
                    <a:pt x="250774" y="0"/>
                  </a:lnTo>
                  <a:close/>
                </a:path>
                <a:path w="250825" h="1139825">
                  <a:moveTo>
                    <a:pt x="250786" y="1073607"/>
                  </a:moveTo>
                  <a:lnTo>
                    <a:pt x="195846" y="1076655"/>
                  </a:lnTo>
                  <a:lnTo>
                    <a:pt x="195846" y="1130033"/>
                  </a:lnTo>
                  <a:lnTo>
                    <a:pt x="250786" y="1127277"/>
                  </a:lnTo>
                  <a:lnTo>
                    <a:pt x="250786" y="1073607"/>
                  </a:lnTo>
                  <a:close/>
                </a:path>
                <a:path w="250825" h="1139825">
                  <a:moveTo>
                    <a:pt x="250786" y="966482"/>
                  </a:moveTo>
                  <a:lnTo>
                    <a:pt x="195834" y="970140"/>
                  </a:lnTo>
                  <a:lnTo>
                    <a:pt x="195834" y="1023531"/>
                  </a:lnTo>
                  <a:lnTo>
                    <a:pt x="250786" y="1020203"/>
                  </a:lnTo>
                  <a:lnTo>
                    <a:pt x="250786" y="966482"/>
                  </a:lnTo>
                  <a:close/>
                </a:path>
              </a:pathLst>
            </a:custGeom>
            <a:solidFill>
              <a:srgbClr val="40404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4" name="object 200">
              <a:extLst>
                <a:ext uri="{FF2B5EF4-FFF2-40B4-BE49-F238E27FC236}">
                  <a16:creationId xmlns:a16="http://schemas.microsoft.com/office/drawing/2014/main" id="{2855B406-8BB4-4EFB-92EB-14FCBAD31E80}"/>
                </a:ext>
              </a:extLst>
            </p:cNvPr>
            <p:cNvSpPr/>
            <p:nvPr/>
          </p:nvSpPr>
          <p:spPr>
            <a:xfrm>
              <a:off x="5372784" y="7748144"/>
              <a:ext cx="469900" cy="1716405"/>
            </a:xfrm>
            <a:custGeom>
              <a:avLst/>
              <a:gdLst/>
              <a:ahLst/>
              <a:cxnLst/>
              <a:rect l="l" t="t" r="r" b="b"/>
              <a:pathLst>
                <a:path w="469900" h="1716404">
                  <a:moveTo>
                    <a:pt x="469608" y="0"/>
                  </a:moveTo>
                  <a:lnTo>
                    <a:pt x="0" y="87232"/>
                  </a:lnTo>
                  <a:lnTo>
                    <a:pt x="0" y="1716000"/>
                  </a:lnTo>
                  <a:lnTo>
                    <a:pt x="469608" y="0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5" name="object 201">
              <a:extLst>
                <a:ext uri="{FF2B5EF4-FFF2-40B4-BE49-F238E27FC236}">
                  <a16:creationId xmlns:a16="http://schemas.microsoft.com/office/drawing/2014/main" id="{E76FEECE-109F-46F7-8D56-C880040E010D}"/>
                </a:ext>
              </a:extLst>
            </p:cNvPr>
            <p:cNvSpPr/>
            <p:nvPr/>
          </p:nvSpPr>
          <p:spPr>
            <a:xfrm>
              <a:off x="5984206" y="7598428"/>
              <a:ext cx="870585" cy="1644650"/>
            </a:xfrm>
            <a:custGeom>
              <a:avLst/>
              <a:gdLst/>
              <a:ahLst/>
              <a:cxnLst/>
              <a:rect l="l" t="t" r="r" b="b"/>
              <a:pathLst>
                <a:path w="870584" h="1644650">
                  <a:moveTo>
                    <a:pt x="450059" y="0"/>
                  </a:moveTo>
                  <a:lnTo>
                    <a:pt x="0" y="86887"/>
                  </a:lnTo>
                  <a:lnTo>
                    <a:pt x="0" y="1644525"/>
                  </a:lnTo>
                  <a:lnTo>
                    <a:pt x="870580" y="1644525"/>
                  </a:lnTo>
                  <a:lnTo>
                    <a:pt x="870580" y="104321"/>
                  </a:lnTo>
                  <a:lnTo>
                    <a:pt x="450059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6" name="object 202">
              <a:extLst>
                <a:ext uri="{FF2B5EF4-FFF2-40B4-BE49-F238E27FC236}">
                  <a16:creationId xmlns:a16="http://schemas.microsoft.com/office/drawing/2014/main" id="{7235B9BA-9EDA-45FB-9219-6EF98C179793}"/>
                </a:ext>
              </a:extLst>
            </p:cNvPr>
            <p:cNvSpPr/>
            <p:nvPr/>
          </p:nvSpPr>
          <p:spPr>
            <a:xfrm>
              <a:off x="6416502" y="7598430"/>
              <a:ext cx="35560" cy="1644650"/>
            </a:xfrm>
            <a:custGeom>
              <a:avLst/>
              <a:gdLst/>
              <a:ahLst/>
              <a:cxnLst/>
              <a:rect l="l" t="t" r="r" b="b"/>
              <a:pathLst>
                <a:path w="35560" h="1644650">
                  <a:moveTo>
                    <a:pt x="17758" y="0"/>
                  </a:moveTo>
                  <a:lnTo>
                    <a:pt x="0" y="3287"/>
                  </a:lnTo>
                  <a:lnTo>
                    <a:pt x="0" y="1644525"/>
                  </a:lnTo>
                  <a:lnTo>
                    <a:pt x="35538" y="1644525"/>
                  </a:lnTo>
                  <a:lnTo>
                    <a:pt x="35538" y="2722"/>
                  </a:lnTo>
                  <a:lnTo>
                    <a:pt x="17758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7" name="object 203">
              <a:extLst>
                <a:ext uri="{FF2B5EF4-FFF2-40B4-BE49-F238E27FC236}">
                  <a16:creationId xmlns:a16="http://schemas.microsoft.com/office/drawing/2014/main" id="{9C30ACAE-C6DF-493D-A9CC-425A056DDCBE}"/>
                </a:ext>
              </a:extLst>
            </p:cNvPr>
            <p:cNvSpPr/>
            <p:nvPr/>
          </p:nvSpPr>
          <p:spPr>
            <a:xfrm>
              <a:off x="6434260" y="7598426"/>
              <a:ext cx="421005" cy="1644650"/>
            </a:xfrm>
            <a:custGeom>
              <a:avLst/>
              <a:gdLst/>
              <a:ahLst/>
              <a:cxnLst/>
              <a:rect l="l" t="t" r="r" b="b"/>
              <a:pathLst>
                <a:path w="421004" h="1644650">
                  <a:moveTo>
                    <a:pt x="0" y="0"/>
                  </a:moveTo>
                  <a:lnTo>
                    <a:pt x="0" y="1644536"/>
                  </a:lnTo>
                  <a:lnTo>
                    <a:pt x="420521" y="1644536"/>
                  </a:lnTo>
                  <a:lnTo>
                    <a:pt x="420521" y="10432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8" name="object 204">
              <a:extLst>
                <a:ext uri="{FF2B5EF4-FFF2-40B4-BE49-F238E27FC236}">
                  <a16:creationId xmlns:a16="http://schemas.microsoft.com/office/drawing/2014/main" id="{2ED54FE1-5B4F-4F0F-8325-0886A1AAA417}"/>
                </a:ext>
              </a:extLst>
            </p:cNvPr>
            <p:cNvSpPr/>
            <p:nvPr/>
          </p:nvSpPr>
          <p:spPr>
            <a:xfrm>
              <a:off x="5936258" y="7636106"/>
              <a:ext cx="966469" cy="1826260"/>
            </a:xfrm>
            <a:custGeom>
              <a:avLst/>
              <a:gdLst/>
              <a:ahLst/>
              <a:cxnLst/>
              <a:rect l="l" t="t" r="r" b="b"/>
              <a:pathLst>
                <a:path w="966470" h="1826259">
                  <a:moveTo>
                    <a:pt x="499628" y="0"/>
                  </a:moveTo>
                  <a:lnTo>
                    <a:pt x="0" y="92792"/>
                  </a:lnTo>
                  <a:lnTo>
                    <a:pt x="0" y="1825693"/>
                  </a:lnTo>
                  <a:lnTo>
                    <a:pt x="966473" y="1825693"/>
                  </a:lnTo>
                  <a:lnTo>
                    <a:pt x="966473" y="112185"/>
                  </a:lnTo>
                  <a:lnTo>
                    <a:pt x="499628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9" name="object 205">
              <a:extLst>
                <a:ext uri="{FF2B5EF4-FFF2-40B4-BE49-F238E27FC236}">
                  <a16:creationId xmlns:a16="http://schemas.microsoft.com/office/drawing/2014/main" id="{2B98EBB9-2C27-4E2D-AFFB-047676E8C81B}"/>
                </a:ext>
              </a:extLst>
            </p:cNvPr>
            <p:cNvSpPr/>
            <p:nvPr/>
          </p:nvSpPr>
          <p:spPr>
            <a:xfrm>
              <a:off x="6416163" y="7636095"/>
              <a:ext cx="40005" cy="1826260"/>
            </a:xfrm>
            <a:custGeom>
              <a:avLst/>
              <a:gdLst/>
              <a:ahLst/>
              <a:cxnLst/>
              <a:rect l="l" t="t" r="r" b="b"/>
              <a:pathLst>
                <a:path w="40004" h="1826259">
                  <a:moveTo>
                    <a:pt x="19716" y="0"/>
                  </a:moveTo>
                  <a:lnTo>
                    <a:pt x="0" y="3664"/>
                  </a:lnTo>
                  <a:lnTo>
                    <a:pt x="0" y="1825703"/>
                  </a:lnTo>
                  <a:lnTo>
                    <a:pt x="39454" y="1825703"/>
                  </a:lnTo>
                  <a:lnTo>
                    <a:pt x="39454" y="3026"/>
                  </a:lnTo>
                  <a:lnTo>
                    <a:pt x="1971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0" name="object 206">
              <a:extLst>
                <a:ext uri="{FF2B5EF4-FFF2-40B4-BE49-F238E27FC236}">
                  <a16:creationId xmlns:a16="http://schemas.microsoft.com/office/drawing/2014/main" id="{8A4AB829-69F2-4A10-9690-C07D3E02B501}"/>
                </a:ext>
              </a:extLst>
            </p:cNvPr>
            <p:cNvSpPr/>
            <p:nvPr/>
          </p:nvSpPr>
          <p:spPr>
            <a:xfrm>
              <a:off x="6435886" y="7636097"/>
              <a:ext cx="467359" cy="1826260"/>
            </a:xfrm>
            <a:custGeom>
              <a:avLst/>
              <a:gdLst/>
              <a:ahLst/>
              <a:cxnLst/>
              <a:rect l="l" t="t" r="r" b="b"/>
              <a:pathLst>
                <a:path w="467359" h="1826259">
                  <a:moveTo>
                    <a:pt x="0" y="0"/>
                  </a:moveTo>
                  <a:lnTo>
                    <a:pt x="0" y="1825703"/>
                  </a:lnTo>
                  <a:lnTo>
                    <a:pt x="466844" y="1825703"/>
                  </a:lnTo>
                  <a:lnTo>
                    <a:pt x="466844" y="11218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1" name="object 207">
              <a:extLst>
                <a:ext uri="{FF2B5EF4-FFF2-40B4-BE49-F238E27FC236}">
                  <a16:creationId xmlns:a16="http://schemas.microsoft.com/office/drawing/2014/main" id="{2233E98E-2C07-499C-B30C-5A55AF602103}"/>
                </a:ext>
              </a:extLst>
            </p:cNvPr>
            <p:cNvSpPr/>
            <p:nvPr/>
          </p:nvSpPr>
          <p:spPr>
            <a:xfrm>
              <a:off x="6435886" y="7748282"/>
              <a:ext cx="467359" cy="1713864"/>
            </a:xfrm>
            <a:custGeom>
              <a:avLst/>
              <a:gdLst/>
              <a:ahLst/>
              <a:cxnLst/>
              <a:rect l="l" t="t" r="r" b="b"/>
              <a:pathLst>
                <a:path w="467359" h="1713865">
                  <a:moveTo>
                    <a:pt x="466844" y="0"/>
                  </a:moveTo>
                  <a:lnTo>
                    <a:pt x="0" y="1713518"/>
                  </a:lnTo>
                  <a:lnTo>
                    <a:pt x="466844" y="1713518"/>
                  </a:lnTo>
                  <a:lnTo>
                    <a:pt x="466844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2" name="object 208">
              <a:extLst>
                <a:ext uri="{FF2B5EF4-FFF2-40B4-BE49-F238E27FC236}">
                  <a16:creationId xmlns:a16="http://schemas.microsoft.com/office/drawing/2014/main" id="{F2D8F992-B68B-47C4-A2D0-C165CA05D0BD}"/>
                </a:ext>
              </a:extLst>
            </p:cNvPr>
            <p:cNvSpPr/>
            <p:nvPr/>
          </p:nvSpPr>
          <p:spPr>
            <a:xfrm>
              <a:off x="5984205" y="9461806"/>
              <a:ext cx="870585" cy="39370"/>
            </a:xfrm>
            <a:custGeom>
              <a:avLst/>
              <a:gdLst/>
              <a:ahLst/>
              <a:cxnLst/>
              <a:rect l="l" t="t" r="r" b="b"/>
              <a:pathLst>
                <a:path w="870584" h="39370">
                  <a:moveTo>
                    <a:pt x="870580" y="0"/>
                  </a:moveTo>
                  <a:lnTo>
                    <a:pt x="0" y="0"/>
                  </a:lnTo>
                  <a:lnTo>
                    <a:pt x="0" y="39014"/>
                  </a:lnTo>
                  <a:lnTo>
                    <a:pt x="870580" y="39014"/>
                  </a:lnTo>
                  <a:lnTo>
                    <a:pt x="870580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3" name="object 209">
              <a:extLst>
                <a:ext uri="{FF2B5EF4-FFF2-40B4-BE49-F238E27FC236}">
                  <a16:creationId xmlns:a16="http://schemas.microsoft.com/office/drawing/2014/main" id="{EE63E3E9-64AA-48DE-8DE7-3B05DB960E79}"/>
                </a:ext>
              </a:extLst>
            </p:cNvPr>
            <p:cNvSpPr/>
            <p:nvPr/>
          </p:nvSpPr>
          <p:spPr>
            <a:xfrm>
              <a:off x="6003384" y="7937847"/>
              <a:ext cx="362585" cy="1332230"/>
            </a:xfrm>
            <a:custGeom>
              <a:avLst/>
              <a:gdLst/>
              <a:ahLst/>
              <a:cxnLst/>
              <a:rect l="l" t="t" r="r" b="b"/>
              <a:pathLst>
                <a:path w="362585" h="1332229">
                  <a:moveTo>
                    <a:pt x="362449" y="0"/>
                  </a:moveTo>
                  <a:lnTo>
                    <a:pt x="0" y="60176"/>
                  </a:lnTo>
                  <a:lnTo>
                    <a:pt x="0" y="1332200"/>
                  </a:lnTo>
                  <a:lnTo>
                    <a:pt x="362449" y="1320158"/>
                  </a:lnTo>
                  <a:lnTo>
                    <a:pt x="362449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4" name="object 210">
              <a:extLst>
                <a:ext uri="{FF2B5EF4-FFF2-40B4-BE49-F238E27FC236}">
                  <a16:creationId xmlns:a16="http://schemas.microsoft.com/office/drawing/2014/main" id="{827606D0-9C9F-41ED-8AE9-4CFA7D6FB3BF}"/>
                </a:ext>
              </a:extLst>
            </p:cNvPr>
            <p:cNvSpPr/>
            <p:nvPr/>
          </p:nvSpPr>
          <p:spPr>
            <a:xfrm>
              <a:off x="6003384" y="7937847"/>
              <a:ext cx="362585" cy="81280"/>
            </a:xfrm>
            <a:custGeom>
              <a:avLst/>
              <a:gdLst/>
              <a:ahLst/>
              <a:cxnLst/>
              <a:rect l="l" t="t" r="r" b="b"/>
              <a:pathLst>
                <a:path w="362585" h="81279">
                  <a:moveTo>
                    <a:pt x="362449" y="0"/>
                  </a:moveTo>
                  <a:lnTo>
                    <a:pt x="0" y="60176"/>
                  </a:lnTo>
                  <a:lnTo>
                    <a:pt x="0" y="81222"/>
                  </a:lnTo>
                  <a:lnTo>
                    <a:pt x="362449" y="21056"/>
                  </a:lnTo>
                  <a:lnTo>
                    <a:pt x="362449" y="0"/>
                  </a:lnTo>
                  <a:close/>
                </a:path>
              </a:pathLst>
            </a:custGeom>
            <a:solidFill>
              <a:srgbClr val="404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5" name="object 211">
              <a:extLst>
                <a:ext uri="{FF2B5EF4-FFF2-40B4-BE49-F238E27FC236}">
                  <a16:creationId xmlns:a16="http://schemas.microsoft.com/office/drawing/2014/main" id="{110311BB-A1A4-4E1B-A2F9-F11193AB0304}"/>
                </a:ext>
              </a:extLst>
            </p:cNvPr>
            <p:cNvSpPr/>
            <p:nvPr/>
          </p:nvSpPr>
          <p:spPr>
            <a:xfrm>
              <a:off x="6003384" y="9257996"/>
              <a:ext cx="362585" cy="30480"/>
            </a:xfrm>
            <a:custGeom>
              <a:avLst/>
              <a:gdLst/>
              <a:ahLst/>
              <a:cxnLst/>
              <a:rect l="l" t="t" r="r" b="b"/>
              <a:pathLst>
                <a:path w="362585" h="30479">
                  <a:moveTo>
                    <a:pt x="362449" y="0"/>
                  </a:moveTo>
                  <a:lnTo>
                    <a:pt x="0" y="12051"/>
                  </a:lnTo>
                  <a:lnTo>
                    <a:pt x="0" y="30386"/>
                  </a:lnTo>
                  <a:lnTo>
                    <a:pt x="362449" y="18344"/>
                  </a:lnTo>
                  <a:lnTo>
                    <a:pt x="362449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6" name="object 212">
              <a:extLst>
                <a:ext uri="{FF2B5EF4-FFF2-40B4-BE49-F238E27FC236}">
                  <a16:creationId xmlns:a16="http://schemas.microsoft.com/office/drawing/2014/main" id="{865585B2-106F-4EF3-BA62-094624D7EB5A}"/>
                </a:ext>
              </a:extLst>
            </p:cNvPr>
            <p:cNvSpPr/>
            <p:nvPr/>
          </p:nvSpPr>
          <p:spPr>
            <a:xfrm>
              <a:off x="6051982" y="8006898"/>
              <a:ext cx="267335" cy="1212850"/>
            </a:xfrm>
            <a:custGeom>
              <a:avLst/>
              <a:gdLst/>
              <a:ahLst/>
              <a:cxnLst/>
              <a:rect l="l" t="t" r="r" b="b"/>
              <a:pathLst>
                <a:path w="267335" h="1212850">
                  <a:moveTo>
                    <a:pt x="56210" y="91325"/>
                  </a:moveTo>
                  <a:lnTo>
                    <a:pt x="56197" y="35128"/>
                  </a:lnTo>
                  <a:lnTo>
                    <a:pt x="0" y="44500"/>
                  </a:lnTo>
                  <a:lnTo>
                    <a:pt x="25" y="100368"/>
                  </a:lnTo>
                  <a:lnTo>
                    <a:pt x="56210" y="91325"/>
                  </a:lnTo>
                  <a:close/>
                </a:path>
                <a:path w="267335" h="1212850">
                  <a:moveTo>
                    <a:pt x="56261" y="203377"/>
                  </a:moveTo>
                  <a:lnTo>
                    <a:pt x="56222" y="147231"/>
                  </a:lnTo>
                  <a:lnTo>
                    <a:pt x="50" y="155994"/>
                  </a:lnTo>
                  <a:lnTo>
                    <a:pt x="88" y="211836"/>
                  </a:lnTo>
                  <a:lnTo>
                    <a:pt x="56261" y="203377"/>
                  </a:lnTo>
                  <a:close/>
                </a:path>
                <a:path w="267335" h="1212850">
                  <a:moveTo>
                    <a:pt x="56311" y="315404"/>
                  </a:moveTo>
                  <a:lnTo>
                    <a:pt x="56299" y="259257"/>
                  </a:lnTo>
                  <a:lnTo>
                    <a:pt x="127" y="267373"/>
                  </a:lnTo>
                  <a:lnTo>
                    <a:pt x="165" y="323189"/>
                  </a:lnTo>
                  <a:lnTo>
                    <a:pt x="56311" y="315404"/>
                  </a:lnTo>
                  <a:close/>
                </a:path>
                <a:path w="267335" h="1212850">
                  <a:moveTo>
                    <a:pt x="56375" y="427405"/>
                  </a:moveTo>
                  <a:lnTo>
                    <a:pt x="56349" y="371271"/>
                  </a:lnTo>
                  <a:lnTo>
                    <a:pt x="177" y="378790"/>
                  </a:lnTo>
                  <a:lnTo>
                    <a:pt x="215" y="434568"/>
                  </a:lnTo>
                  <a:lnTo>
                    <a:pt x="56375" y="427405"/>
                  </a:lnTo>
                  <a:close/>
                </a:path>
                <a:path w="267335" h="1212850">
                  <a:moveTo>
                    <a:pt x="56426" y="539330"/>
                  </a:moveTo>
                  <a:lnTo>
                    <a:pt x="56400" y="483247"/>
                  </a:lnTo>
                  <a:lnTo>
                    <a:pt x="254" y="490105"/>
                  </a:lnTo>
                  <a:lnTo>
                    <a:pt x="279" y="545871"/>
                  </a:lnTo>
                  <a:lnTo>
                    <a:pt x="56426" y="539330"/>
                  </a:lnTo>
                  <a:close/>
                </a:path>
                <a:path w="267335" h="1212850">
                  <a:moveTo>
                    <a:pt x="56464" y="651217"/>
                  </a:moveTo>
                  <a:lnTo>
                    <a:pt x="56438" y="595147"/>
                  </a:lnTo>
                  <a:lnTo>
                    <a:pt x="292" y="601383"/>
                  </a:lnTo>
                  <a:lnTo>
                    <a:pt x="330" y="657123"/>
                  </a:lnTo>
                  <a:lnTo>
                    <a:pt x="56464" y="651217"/>
                  </a:lnTo>
                  <a:close/>
                </a:path>
                <a:path w="267335" h="1212850">
                  <a:moveTo>
                    <a:pt x="56502" y="706996"/>
                  </a:moveTo>
                  <a:lnTo>
                    <a:pt x="368" y="712597"/>
                  </a:lnTo>
                  <a:lnTo>
                    <a:pt x="393" y="768324"/>
                  </a:lnTo>
                  <a:lnTo>
                    <a:pt x="56502" y="763041"/>
                  </a:lnTo>
                  <a:lnTo>
                    <a:pt x="56502" y="706996"/>
                  </a:lnTo>
                  <a:close/>
                </a:path>
                <a:path w="267335" h="1212850">
                  <a:moveTo>
                    <a:pt x="56565" y="874814"/>
                  </a:moveTo>
                  <a:lnTo>
                    <a:pt x="56553" y="818794"/>
                  </a:lnTo>
                  <a:lnTo>
                    <a:pt x="419" y="823760"/>
                  </a:lnTo>
                  <a:lnTo>
                    <a:pt x="457" y="879475"/>
                  </a:lnTo>
                  <a:lnTo>
                    <a:pt x="56565" y="874814"/>
                  </a:lnTo>
                  <a:close/>
                </a:path>
                <a:path w="267335" h="1212850">
                  <a:moveTo>
                    <a:pt x="56616" y="986536"/>
                  </a:moveTo>
                  <a:lnTo>
                    <a:pt x="56591" y="930554"/>
                  </a:lnTo>
                  <a:lnTo>
                    <a:pt x="495" y="934897"/>
                  </a:lnTo>
                  <a:lnTo>
                    <a:pt x="533" y="990574"/>
                  </a:lnTo>
                  <a:lnTo>
                    <a:pt x="56616" y="986536"/>
                  </a:lnTo>
                  <a:close/>
                </a:path>
                <a:path w="267335" h="1212850">
                  <a:moveTo>
                    <a:pt x="56667" y="1098207"/>
                  </a:moveTo>
                  <a:lnTo>
                    <a:pt x="56642" y="1042238"/>
                  </a:lnTo>
                  <a:lnTo>
                    <a:pt x="546" y="1045972"/>
                  </a:lnTo>
                  <a:lnTo>
                    <a:pt x="571" y="1101623"/>
                  </a:lnTo>
                  <a:lnTo>
                    <a:pt x="56667" y="1098207"/>
                  </a:lnTo>
                  <a:close/>
                </a:path>
                <a:path w="267335" h="1212850">
                  <a:moveTo>
                    <a:pt x="56718" y="1209814"/>
                  </a:moveTo>
                  <a:lnTo>
                    <a:pt x="56705" y="1153896"/>
                  </a:lnTo>
                  <a:lnTo>
                    <a:pt x="622" y="1156995"/>
                  </a:lnTo>
                  <a:lnTo>
                    <a:pt x="647" y="1212608"/>
                  </a:lnTo>
                  <a:lnTo>
                    <a:pt x="56718" y="1209814"/>
                  </a:lnTo>
                  <a:close/>
                </a:path>
                <a:path w="267335" h="1212850">
                  <a:moveTo>
                    <a:pt x="160413" y="74523"/>
                  </a:moveTo>
                  <a:lnTo>
                    <a:pt x="160401" y="17729"/>
                  </a:lnTo>
                  <a:lnTo>
                    <a:pt x="103022" y="27305"/>
                  </a:lnTo>
                  <a:lnTo>
                    <a:pt x="103047" y="83769"/>
                  </a:lnTo>
                  <a:lnTo>
                    <a:pt x="160413" y="74523"/>
                  </a:lnTo>
                  <a:close/>
                </a:path>
                <a:path w="267335" h="1212850">
                  <a:moveTo>
                    <a:pt x="160451" y="187782"/>
                  </a:moveTo>
                  <a:lnTo>
                    <a:pt x="160439" y="131025"/>
                  </a:lnTo>
                  <a:lnTo>
                    <a:pt x="103073" y="139954"/>
                  </a:lnTo>
                  <a:lnTo>
                    <a:pt x="103073" y="196380"/>
                  </a:lnTo>
                  <a:lnTo>
                    <a:pt x="160451" y="187782"/>
                  </a:lnTo>
                  <a:close/>
                </a:path>
                <a:path w="267335" h="1212850">
                  <a:moveTo>
                    <a:pt x="160477" y="300951"/>
                  </a:moveTo>
                  <a:lnTo>
                    <a:pt x="160464" y="244233"/>
                  </a:lnTo>
                  <a:lnTo>
                    <a:pt x="103111" y="252501"/>
                  </a:lnTo>
                  <a:lnTo>
                    <a:pt x="103124" y="308902"/>
                  </a:lnTo>
                  <a:lnTo>
                    <a:pt x="160477" y="300951"/>
                  </a:lnTo>
                  <a:close/>
                </a:path>
                <a:path w="267335" h="1212850">
                  <a:moveTo>
                    <a:pt x="160502" y="414108"/>
                  </a:moveTo>
                  <a:lnTo>
                    <a:pt x="160477" y="357403"/>
                  </a:lnTo>
                  <a:lnTo>
                    <a:pt x="103136" y="365036"/>
                  </a:lnTo>
                  <a:lnTo>
                    <a:pt x="103174" y="421411"/>
                  </a:lnTo>
                  <a:lnTo>
                    <a:pt x="160502" y="414108"/>
                  </a:lnTo>
                  <a:close/>
                </a:path>
                <a:path w="267335" h="1212850">
                  <a:moveTo>
                    <a:pt x="160528" y="527215"/>
                  </a:moveTo>
                  <a:lnTo>
                    <a:pt x="160515" y="470522"/>
                  </a:lnTo>
                  <a:lnTo>
                    <a:pt x="103200" y="477520"/>
                  </a:lnTo>
                  <a:lnTo>
                    <a:pt x="103212" y="533895"/>
                  </a:lnTo>
                  <a:lnTo>
                    <a:pt x="160528" y="527215"/>
                  </a:lnTo>
                  <a:close/>
                </a:path>
                <a:path w="267335" h="1212850">
                  <a:moveTo>
                    <a:pt x="160540" y="640257"/>
                  </a:moveTo>
                  <a:lnTo>
                    <a:pt x="160528" y="583603"/>
                  </a:lnTo>
                  <a:lnTo>
                    <a:pt x="103225" y="589953"/>
                  </a:lnTo>
                  <a:lnTo>
                    <a:pt x="103251" y="646290"/>
                  </a:lnTo>
                  <a:lnTo>
                    <a:pt x="160540" y="640257"/>
                  </a:lnTo>
                  <a:close/>
                </a:path>
                <a:path w="267335" h="1212850">
                  <a:moveTo>
                    <a:pt x="160566" y="696595"/>
                  </a:moveTo>
                  <a:lnTo>
                    <a:pt x="103276" y="702335"/>
                  </a:lnTo>
                  <a:lnTo>
                    <a:pt x="103276" y="758647"/>
                  </a:lnTo>
                  <a:lnTo>
                    <a:pt x="160566" y="753237"/>
                  </a:lnTo>
                  <a:lnTo>
                    <a:pt x="160566" y="696595"/>
                  </a:lnTo>
                  <a:close/>
                </a:path>
                <a:path w="267335" h="1212850">
                  <a:moveTo>
                    <a:pt x="160591" y="866165"/>
                  </a:moveTo>
                  <a:lnTo>
                    <a:pt x="160578" y="809561"/>
                  </a:lnTo>
                  <a:lnTo>
                    <a:pt x="103314" y="814654"/>
                  </a:lnTo>
                  <a:lnTo>
                    <a:pt x="103339" y="870927"/>
                  </a:lnTo>
                  <a:lnTo>
                    <a:pt x="160591" y="866165"/>
                  </a:lnTo>
                  <a:close/>
                </a:path>
                <a:path w="267335" h="1212850">
                  <a:moveTo>
                    <a:pt x="160616" y="979030"/>
                  </a:moveTo>
                  <a:lnTo>
                    <a:pt x="160591" y="922477"/>
                  </a:lnTo>
                  <a:lnTo>
                    <a:pt x="103339" y="926922"/>
                  </a:lnTo>
                  <a:lnTo>
                    <a:pt x="103352" y="983157"/>
                  </a:lnTo>
                  <a:lnTo>
                    <a:pt x="160616" y="979030"/>
                  </a:lnTo>
                  <a:close/>
                </a:path>
                <a:path w="267335" h="1212850">
                  <a:moveTo>
                    <a:pt x="160642" y="1091869"/>
                  </a:moveTo>
                  <a:lnTo>
                    <a:pt x="160629" y="1035342"/>
                  </a:lnTo>
                  <a:lnTo>
                    <a:pt x="103390" y="1039152"/>
                  </a:lnTo>
                  <a:lnTo>
                    <a:pt x="103403" y="1095375"/>
                  </a:lnTo>
                  <a:lnTo>
                    <a:pt x="160642" y="1091869"/>
                  </a:lnTo>
                  <a:close/>
                </a:path>
                <a:path w="267335" h="1212850">
                  <a:moveTo>
                    <a:pt x="160655" y="1148130"/>
                  </a:moveTo>
                  <a:lnTo>
                    <a:pt x="103416" y="1151293"/>
                  </a:lnTo>
                  <a:lnTo>
                    <a:pt x="103441" y="1207503"/>
                  </a:lnTo>
                  <a:lnTo>
                    <a:pt x="160655" y="1204645"/>
                  </a:lnTo>
                  <a:lnTo>
                    <a:pt x="160655" y="1148130"/>
                  </a:lnTo>
                  <a:close/>
                </a:path>
                <a:path w="267335" h="1212850">
                  <a:moveTo>
                    <a:pt x="266776" y="1142263"/>
                  </a:moveTo>
                  <a:lnTo>
                    <a:pt x="208368" y="1145489"/>
                  </a:lnTo>
                  <a:lnTo>
                    <a:pt x="208368" y="1202270"/>
                  </a:lnTo>
                  <a:lnTo>
                    <a:pt x="266776" y="1199362"/>
                  </a:lnTo>
                  <a:lnTo>
                    <a:pt x="266776" y="1142263"/>
                  </a:lnTo>
                  <a:close/>
                </a:path>
                <a:path w="267335" h="1212850">
                  <a:moveTo>
                    <a:pt x="266776" y="457542"/>
                  </a:moveTo>
                  <a:lnTo>
                    <a:pt x="208267" y="464680"/>
                  </a:lnTo>
                  <a:lnTo>
                    <a:pt x="208280" y="521639"/>
                  </a:lnTo>
                  <a:lnTo>
                    <a:pt x="266776" y="514832"/>
                  </a:lnTo>
                  <a:lnTo>
                    <a:pt x="266776" y="457542"/>
                  </a:lnTo>
                  <a:close/>
                </a:path>
                <a:path w="267335" h="1212850">
                  <a:moveTo>
                    <a:pt x="266776" y="228866"/>
                  </a:moveTo>
                  <a:lnTo>
                    <a:pt x="208241" y="237337"/>
                  </a:lnTo>
                  <a:lnTo>
                    <a:pt x="208241" y="294322"/>
                  </a:lnTo>
                  <a:lnTo>
                    <a:pt x="266776" y="286207"/>
                  </a:lnTo>
                  <a:lnTo>
                    <a:pt x="266776" y="228866"/>
                  </a:lnTo>
                  <a:close/>
                </a:path>
                <a:path w="267335" h="1212850">
                  <a:moveTo>
                    <a:pt x="266776" y="114477"/>
                  </a:moveTo>
                  <a:lnTo>
                    <a:pt x="208241" y="123583"/>
                  </a:lnTo>
                  <a:lnTo>
                    <a:pt x="208241" y="180606"/>
                  </a:lnTo>
                  <a:lnTo>
                    <a:pt x="266776" y="171831"/>
                  </a:lnTo>
                  <a:lnTo>
                    <a:pt x="266776" y="114477"/>
                  </a:lnTo>
                  <a:close/>
                </a:path>
                <a:path w="267335" h="1212850">
                  <a:moveTo>
                    <a:pt x="266788" y="1028268"/>
                  </a:moveTo>
                  <a:lnTo>
                    <a:pt x="208343" y="1032154"/>
                  </a:lnTo>
                  <a:lnTo>
                    <a:pt x="208343" y="1088961"/>
                  </a:lnTo>
                  <a:lnTo>
                    <a:pt x="266788" y="1085405"/>
                  </a:lnTo>
                  <a:lnTo>
                    <a:pt x="266788" y="1028268"/>
                  </a:lnTo>
                  <a:close/>
                </a:path>
                <a:path w="267335" h="1212850">
                  <a:moveTo>
                    <a:pt x="266788" y="914247"/>
                  </a:moveTo>
                  <a:lnTo>
                    <a:pt x="208330" y="918768"/>
                  </a:lnTo>
                  <a:lnTo>
                    <a:pt x="208330" y="975614"/>
                  </a:lnTo>
                  <a:lnTo>
                    <a:pt x="266788" y="971397"/>
                  </a:lnTo>
                  <a:lnTo>
                    <a:pt x="266788" y="914247"/>
                  </a:lnTo>
                  <a:close/>
                </a:path>
                <a:path w="267335" h="1212850">
                  <a:moveTo>
                    <a:pt x="266788" y="800138"/>
                  </a:moveTo>
                  <a:lnTo>
                    <a:pt x="208318" y="805307"/>
                  </a:lnTo>
                  <a:lnTo>
                    <a:pt x="208330" y="862215"/>
                  </a:lnTo>
                  <a:lnTo>
                    <a:pt x="266788" y="857338"/>
                  </a:lnTo>
                  <a:lnTo>
                    <a:pt x="266788" y="800138"/>
                  </a:lnTo>
                  <a:close/>
                </a:path>
                <a:path w="267335" h="1212850">
                  <a:moveTo>
                    <a:pt x="266788" y="686015"/>
                  </a:moveTo>
                  <a:lnTo>
                    <a:pt x="208292" y="691832"/>
                  </a:lnTo>
                  <a:lnTo>
                    <a:pt x="208292" y="748753"/>
                  </a:lnTo>
                  <a:lnTo>
                    <a:pt x="266788" y="743216"/>
                  </a:lnTo>
                  <a:lnTo>
                    <a:pt x="266788" y="686015"/>
                  </a:lnTo>
                  <a:close/>
                </a:path>
                <a:path w="267335" h="1212850">
                  <a:moveTo>
                    <a:pt x="266788" y="571804"/>
                  </a:moveTo>
                  <a:lnTo>
                    <a:pt x="208280" y="578294"/>
                  </a:lnTo>
                  <a:lnTo>
                    <a:pt x="208292" y="635203"/>
                  </a:lnTo>
                  <a:lnTo>
                    <a:pt x="266788" y="629043"/>
                  </a:lnTo>
                  <a:lnTo>
                    <a:pt x="266788" y="571804"/>
                  </a:lnTo>
                  <a:close/>
                </a:path>
                <a:path w="267335" h="1212850">
                  <a:moveTo>
                    <a:pt x="266788" y="343230"/>
                  </a:moveTo>
                  <a:lnTo>
                    <a:pt x="208254" y="351040"/>
                  </a:lnTo>
                  <a:lnTo>
                    <a:pt x="208267" y="408000"/>
                  </a:lnTo>
                  <a:lnTo>
                    <a:pt x="266788" y="400532"/>
                  </a:lnTo>
                  <a:lnTo>
                    <a:pt x="266788" y="343230"/>
                  </a:lnTo>
                  <a:close/>
                </a:path>
                <a:path w="267335" h="1212850">
                  <a:moveTo>
                    <a:pt x="266788" y="0"/>
                  </a:moveTo>
                  <a:lnTo>
                    <a:pt x="208216" y="9766"/>
                  </a:lnTo>
                  <a:lnTo>
                    <a:pt x="208216" y="66840"/>
                  </a:lnTo>
                  <a:lnTo>
                    <a:pt x="266788" y="57391"/>
                  </a:lnTo>
                  <a:lnTo>
                    <a:pt x="266788" y="0"/>
                  </a:lnTo>
                  <a:close/>
                </a:path>
              </a:pathLst>
            </a:custGeom>
            <a:solidFill>
              <a:srgbClr val="40404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7" name="object 213">
              <a:extLst>
                <a:ext uri="{FF2B5EF4-FFF2-40B4-BE49-F238E27FC236}">
                  <a16:creationId xmlns:a16="http://schemas.microsoft.com/office/drawing/2014/main" id="{927DE4E0-17C6-442D-B53B-820464D214C2}"/>
                </a:ext>
              </a:extLst>
            </p:cNvPr>
            <p:cNvSpPr/>
            <p:nvPr/>
          </p:nvSpPr>
          <p:spPr>
            <a:xfrm>
              <a:off x="5936258" y="7636106"/>
              <a:ext cx="499745" cy="1826260"/>
            </a:xfrm>
            <a:custGeom>
              <a:avLst/>
              <a:gdLst/>
              <a:ahLst/>
              <a:cxnLst/>
              <a:rect l="l" t="t" r="r" b="b"/>
              <a:pathLst>
                <a:path w="499745" h="1826259">
                  <a:moveTo>
                    <a:pt x="499628" y="0"/>
                  </a:moveTo>
                  <a:lnTo>
                    <a:pt x="0" y="92792"/>
                  </a:lnTo>
                  <a:lnTo>
                    <a:pt x="0" y="1825693"/>
                  </a:lnTo>
                  <a:lnTo>
                    <a:pt x="499628" y="0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8" name="object 214">
              <a:extLst>
                <a:ext uri="{FF2B5EF4-FFF2-40B4-BE49-F238E27FC236}">
                  <a16:creationId xmlns:a16="http://schemas.microsoft.com/office/drawing/2014/main" id="{B758849E-826D-49AB-926D-0A273941C4F0}"/>
                </a:ext>
              </a:extLst>
            </p:cNvPr>
            <p:cNvSpPr/>
            <p:nvPr/>
          </p:nvSpPr>
          <p:spPr>
            <a:xfrm>
              <a:off x="6597815" y="7475277"/>
              <a:ext cx="927100" cy="1751330"/>
            </a:xfrm>
            <a:custGeom>
              <a:avLst/>
              <a:gdLst/>
              <a:ahLst/>
              <a:cxnLst/>
              <a:rect l="l" t="t" r="r" b="b"/>
              <a:pathLst>
                <a:path w="927100" h="1751329">
                  <a:moveTo>
                    <a:pt x="479179" y="0"/>
                  </a:moveTo>
                  <a:lnTo>
                    <a:pt x="0" y="92510"/>
                  </a:lnTo>
                  <a:lnTo>
                    <a:pt x="0" y="1751004"/>
                  </a:lnTo>
                  <a:lnTo>
                    <a:pt x="926924" y="1751004"/>
                  </a:lnTo>
                  <a:lnTo>
                    <a:pt x="926924" y="111075"/>
                  </a:lnTo>
                  <a:lnTo>
                    <a:pt x="479179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9" name="object 215">
              <a:extLst>
                <a:ext uri="{FF2B5EF4-FFF2-40B4-BE49-F238E27FC236}">
                  <a16:creationId xmlns:a16="http://schemas.microsoft.com/office/drawing/2014/main" id="{3086C7F6-8BD9-4D30-A83A-6BB5974355AE}"/>
                </a:ext>
              </a:extLst>
            </p:cNvPr>
            <p:cNvSpPr/>
            <p:nvPr/>
          </p:nvSpPr>
          <p:spPr>
            <a:xfrm>
              <a:off x="7058087" y="7475273"/>
              <a:ext cx="38100" cy="1751330"/>
            </a:xfrm>
            <a:custGeom>
              <a:avLst/>
              <a:gdLst/>
              <a:ahLst/>
              <a:cxnLst/>
              <a:rect l="l" t="t" r="r" b="b"/>
              <a:pathLst>
                <a:path w="38100" h="1751329">
                  <a:moveTo>
                    <a:pt x="18920" y="0"/>
                  </a:moveTo>
                  <a:lnTo>
                    <a:pt x="0" y="3507"/>
                  </a:lnTo>
                  <a:lnTo>
                    <a:pt x="0" y="1751014"/>
                  </a:lnTo>
                  <a:lnTo>
                    <a:pt x="37831" y="1751014"/>
                  </a:lnTo>
                  <a:lnTo>
                    <a:pt x="37831" y="2889"/>
                  </a:lnTo>
                  <a:lnTo>
                    <a:pt x="1892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0" name="object 216">
              <a:extLst>
                <a:ext uri="{FF2B5EF4-FFF2-40B4-BE49-F238E27FC236}">
                  <a16:creationId xmlns:a16="http://schemas.microsoft.com/office/drawing/2014/main" id="{4D50D86D-ED49-41B9-A3B0-BD45D719CD23}"/>
                </a:ext>
              </a:extLst>
            </p:cNvPr>
            <p:cNvSpPr/>
            <p:nvPr/>
          </p:nvSpPr>
          <p:spPr>
            <a:xfrm>
              <a:off x="7076993" y="7475278"/>
              <a:ext cx="448309" cy="1751330"/>
            </a:xfrm>
            <a:custGeom>
              <a:avLst/>
              <a:gdLst/>
              <a:ahLst/>
              <a:cxnLst/>
              <a:rect l="l" t="t" r="r" b="b"/>
              <a:pathLst>
                <a:path w="448309" h="1751329">
                  <a:moveTo>
                    <a:pt x="0" y="0"/>
                  </a:moveTo>
                  <a:lnTo>
                    <a:pt x="0" y="1751004"/>
                  </a:lnTo>
                  <a:lnTo>
                    <a:pt x="447745" y="1751004"/>
                  </a:lnTo>
                  <a:lnTo>
                    <a:pt x="447745" y="11107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1" name="object 217">
              <a:extLst>
                <a:ext uri="{FF2B5EF4-FFF2-40B4-BE49-F238E27FC236}">
                  <a16:creationId xmlns:a16="http://schemas.microsoft.com/office/drawing/2014/main" id="{02AEBB6A-BAC4-4D49-AD68-2B000BD14683}"/>
                </a:ext>
              </a:extLst>
            </p:cNvPr>
            <p:cNvSpPr/>
            <p:nvPr/>
          </p:nvSpPr>
          <p:spPr>
            <a:xfrm>
              <a:off x="6546748" y="7515387"/>
              <a:ext cx="1029335" cy="1944370"/>
            </a:xfrm>
            <a:custGeom>
              <a:avLst/>
              <a:gdLst/>
              <a:ahLst/>
              <a:cxnLst/>
              <a:rect l="l" t="t" r="r" b="b"/>
              <a:pathLst>
                <a:path w="1029334" h="1944370">
                  <a:moveTo>
                    <a:pt x="531973" y="0"/>
                  </a:moveTo>
                  <a:lnTo>
                    <a:pt x="0" y="98803"/>
                  </a:lnTo>
                  <a:lnTo>
                    <a:pt x="0" y="1943898"/>
                  </a:lnTo>
                  <a:lnTo>
                    <a:pt x="1029047" y="1943898"/>
                  </a:lnTo>
                  <a:lnTo>
                    <a:pt x="1029047" y="119430"/>
                  </a:lnTo>
                  <a:lnTo>
                    <a:pt x="531973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2" name="object 218">
              <a:extLst>
                <a:ext uri="{FF2B5EF4-FFF2-40B4-BE49-F238E27FC236}">
                  <a16:creationId xmlns:a16="http://schemas.microsoft.com/office/drawing/2014/main" id="{4C74869C-81CA-4B4C-B30A-7F77595D8882}"/>
                </a:ext>
              </a:extLst>
            </p:cNvPr>
            <p:cNvSpPr/>
            <p:nvPr/>
          </p:nvSpPr>
          <p:spPr>
            <a:xfrm>
              <a:off x="7057739" y="7515380"/>
              <a:ext cx="42545" cy="1944370"/>
            </a:xfrm>
            <a:custGeom>
              <a:avLst/>
              <a:gdLst/>
              <a:ahLst/>
              <a:cxnLst/>
              <a:rect l="l" t="t" r="r" b="b"/>
              <a:pathLst>
                <a:path w="42545" h="1944370">
                  <a:moveTo>
                    <a:pt x="20994" y="0"/>
                  </a:moveTo>
                  <a:lnTo>
                    <a:pt x="0" y="3895"/>
                  </a:lnTo>
                  <a:lnTo>
                    <a:pt x="0" y="1943898"/>
                  </a:lnTo>
                  <a:lnTo>
                    <a:pt x="41998" y="1943898"/>
                  </a:lnTo>
                  <a:lnTo>
                    <a:pt x="41998" y="3225"/>
                  </a:lnTo>
                  <a:lnTo>
                    <a:pt x="20994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3" name="object 219">
              <a:extLst>
                <a:ext uri="{FF2B5EF4-FFF2-40B4-BE49-F238E27FC236}">
                  <a16:creationId xmlns:a16="http://schemas.microsoft.com/office/drawing/2014/main" id="{C09689EF-C3E9-461E-A088-F23235A225BD}"/>
                </a:ext>
              </a:extLst>
            </p:cNvPr>
            <p:cNvSpPr/>
            <p:nvPr/>
          </p:nvSpPr>
          <p:spPr>
            <a:xfrm>
              <a:off x="7078730" y="7515381"/>
              <a:ext cx="497205" cy="1944370"/>
            </a:xfrm>
            <a:custGeom>
              <a:avLst/>
              <a:gdLst/>
              <a:ahLst/>
              <a:cxnLst/>
              <a:rect l="l" t="t" r="r" b="b"/>
              <a:pathLst>
                <a:path w="497204" h="1944370">
                  <a:moveTo>
                    <a:pt x="0" y="0"/>
                  </a:moveTo>
                  <a:lnTo>
                    <a:pt x="0" y="1943898"/>
                  </a:lnTo>
                  <a:lnTo>
                    <a:pt x="497063" y="1943898"/>
                  </a:lnTo>
                  <a:lnTo>
                    <a:pt x="497063" y="11943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4" name="object 220">
              <a:extLst>
                <a:ext uri="{FF2B5EF4-FFF2-40B4-BE49-F238E27FC236}">
                  <a16:creationId xmlns:a16="http://schemas.microsoft.com/office/drawing/2014/main" id="{3810DB4B-B252-4AFE-8D0A-B3AE54FFD3E4}"/>
                </a:ext>
              </a:extLst>
            </p:cNvPr>
            <p:cNvSpPr/>
            <p:nvPr/>
          </p:nvSpPr>
          <p:spPr>
            <a:xfrm>
              <a:off x="7078730" y="7634812"/>
              <a:ext cx="497205" cy="1824989"/>
            </a:xfrm>
            <a:custGeom>
              <a:avLst/>
              <a:gdLst/>
              <a:ahLst/>
              <a:cxnLst/>
              <a:rect l="l" t="t" r="r" b="b"/>
              <a:pathLst>
                <a:path w="497204" h="1824990">
                  <a:moveTo>
                    <a:pt x="497063" y="0"/>
                  </a:moveTo>
                  <a:lnTo>
                    <a:pt x="0" y="1824468"/>
                  </a:lnTo>
                  <a:lnTo>
                    <a:pt x="497063" y="1824468"/>
                  </a:lnTo>
                  <a:lnTo>
                    <a:pt x="497063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5" name="object 221">
              <a:extLst>
                <a:ext uri="{FF2B5EF4-FFF2-40B4-BE49-F238E27FC236}">
                  <a16:creationId xmlns:a16="http://schemas.microsoft.com/office/drawing/2014/main" id="{A66C92C8-0550-4898-B351-EAE5B0AA7CF7}"/>
                </a:ext>
              </a:extLst>
            </p:cNvPr>
            <p:cNvSpPr/>
            <p:nvPr/>
          </p:nvSpPr>
          <p:spPr>
            <a:xfrm>
              <a:off x="6597809" y="9459293"/>
              <a:ext cx="927100" cy="41910"/>
            </a:xfrm>
            <a:custGeom>
              <a:avLst/>
              <a:gdLst/>
              <a:ahLst/>
              <a:cxnLst/>
              <a:rect l="l" t="t" r="r" b="b"/>
              <a:pathLst>
                <a:path w="927100" h="41909">
                  <a:moveTo>
                    <a:pt x="926924" y="0"/>
                  </a:moveTo>
                  <a:lnTo>
                    <a:pt x="0" y="0"/>
                  </a:lnTo>
                  <a:lnTo>
                    <a:pt x="0" y="41527"/>
                  </a:lnTo>
                  <a:lnTo>
                    <a:pt x="926924" y="41527"/>
                  </a:lnTo>
                  <a:lnTo>
                    <a:pt x="926924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6" name="object 222">
              <a:extLst>
                <a:ext uri="{FF2B5EF4-FFF2-40B4-BE49-F238E27FC236}">
                  <a16:creationId xmlns:a16="http://schemas.microsoft.com/office/drawing/2014/main" id="{505B2A1D-CED6-4470-9B13-7AF61F548F9C}"/>
                </a:ext>
              </a:extLst>
            </p:cNvPr>
            <p:cNvSpPr/>
            <p:nvPr/>
          </p:nvSpPr>
          <p:spPr>
            <a:xfrm>
              <a:off x="6618233" y="7836665"/>
              <a:ext cx="386080" cy="1418590"/>
            </a:xfrm>
            <a:custGeom>
              <a:avLst/>
              <a:gdLst/>
              <a:ahLst/>
              <a:cxnLst/>
              <a:rect l="l" t="t" r="r" b="b"/>
              <a:pathLst>
                <a:path w="386079" h="1418590">
                  <a:moveTo>
                    <a:pt x="385904" y="0"/>
                  </a:moveTo>
                  <a:lnTo>
                    <a:pt x="0" y="64071"/>
                  </a:lnTo>
                  <a:lnTo>
                    <a:pt x="0" y="1418438"/>
                  </a:lnTo>
                  <a:lnTo>
                    <a:pt x="385904" y="1405622"/>
                  </a:lnTo>
                  <a:lnTo>
                    <a:pt x="385904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7" name="object 223">
              <a:extLst>
                <a:ext uri="{FF2B5EF4-FFF2-40B4-BE49-F238E27FC236}">
                  <a16:creationId xmlns:a16="http://schemas.microsoft.com/office/drawing/2014/main" id="{7A31233F-AD4B-43F9-A6A2-1B960044385B}"/>
                </a:ext>
              </a:extLst>
            </p:cNvPr>
            <p:cNvSpPr/>
            <p:nvPr/>
          </p:nvSpPr>
          <p:spPr>
            <a:xfrm>
              <a:off x="6618233" y="7836665"/>
              <a:ext cx="386080" cy="86995"/>
            </a:xfrm>
            <a:custGeom>
              <a:avLst/>
              <a:gdLst/>
              <a:ahLst/>
              <a:cxnLst/>
              <a:rect l="l" t="t" r="r" b="b"/>
              <a:pathLst>
                <a:path w="386079" h="86995">
                  <a:moveTo>
                    <a:pt x="385904" y="0"/>
                  </a:moveTo>
                  <a:lnTo>
                    <a:pt x="0" y="64071"/>
                  </a:lnTo>
                  <a:lnTo>
                    <a:pt x="0" y="86499"/>
                  </a:lnTo>
                  <a:lnTo>
                    <a:pt x="385904" y="22418"/>
                  </a:lnTo>
                  <a:lnTo>
                    <a:pt x="385904" y="0"/>
                  </a:lnTo>
                  <a:close/>
                </a:path>
              </a:pathLst>
            </a:custGeom>
            <a:solidFill>
              <a:srgbClr val="404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8" name="object 224">
              <a:extLst>
                <a:ext uri="{FF2B5EF4-FFF2-40B4-BE49-F238E27FC236}">
                  <a16:creationId xmlns:a16="http://schemas.microsoft.com/office/drawing/2014/main" id="{AA188028-10CE-4780-A11A-BE93AD4F7181}"/>
                </a:ext>
              </a:extLst>
            </p:cNvPr>
            <p:cNvSpPr/>
            <p:nvPr/>
          </p:nvSpPr>
          <p:spPr>
            <a:xfrm>
              <a:off x="6618233" y="9242283"/>
              <a:ext cx="386080" cy="32384"/>
            </a:xfrm>
            <a:custGeom>
              <a:avLst/>
              <a:gdLst/>
              <a:ahLst/>
              <a:cxnLst/>
              <a:rect l="l" t="t" r="r" b="b"/>
              <a:pathLst>
                <a:path w="386079" h="32384">
                  <a:moveTo>
                    <a:pt x="385904" y="0"/>
                  </a:moveTo>
                  <a:lnTo>
                    <a:pt x="0" y="12826"/>
                  </a:lnTo>
                  <a:lnTo>
                    <a:pt x="0" y="32355"/>
                  </a:lnTo>
                  <a:lnTo>
                    <a:pt x="385904" y="19528"/>
                  </a:lnTo>
                  <a:lnTo>
                    <a:pt x="385904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9" name="object 225">
              <a:extLst>
                <a:ext uri="{FF2B5EF4-FFF2-40B4-BE49-F238E27FC236}">
                  <a16:creationId xmlns:a16="http://schemas.microsoft.com/office/drawing/2014/main" id="{06060318-72D6-49CB-A75F-AD08D4614907}"/>
                </a:ext>
              </a:extLst>
            </p:cNvPr>
            <p:cNvSpPr/>
            <p:nvPr/>
          </p:nvSpPr>
          <p:spPr>
            <a:xfrm>
              <a:off x="6669951" y="7910188"/>
              <a:ext cx="284480" cy="1291590"/>
            </a:xfrm>
            <a:custGeom>
              <a:avLst/>
              <a:gdLst/>
              <a:ahLst/>
              <a:cxnLst/>
              <a:rect l="l" t="t" r="r" b="b"/>
              <a:pathLst>
                <a:path w="284479" h="1291590">
                  <a:moveTo>
                    <a:pt x="59893" y="97205"/>
                  </a:moveTo>
                  <a:lnTo>
                    <a:pt x="59842" y="37388"/>
                  </a:lnTo>
                  <a:lnTo>
                    <a:pt x="0" y="47358"/>
                  </a:lnTo>
                  <a:lnTo>
                    <a:pt x="50" y="106870"/>
                  </a:lnTo>
                  <a:lnTo>
                    <a:pt x="59893" y="97205"/>
                  </a:lnTo>
                  <a:close/>
                </a:path>
                <a:path w="284479" h="1291590">
                  <a:moveTo>
                    <a:pt x="59931" y="216573"/>
                  </a:moveTo>
                  <a:lnTo>
                    <a:pt x="59905" y="156768"/>
                  </a:lnTo>
                  <a:lnTo>
                    <a:pt x="76" y="166077"/>
                  </a:lnTo>
                  <a:lnTo>
                    <a:pt x="114" y="225552"/>
                  </a:lnTo>
                  <a:lnTo>
                    <a:pt x="59931" y="216573"/>
                  </a:lnTo>
                  <a:close/>
                </a:path>
                <a:path w="284479" h="1291590">
                  <a:moveTo>
                    <a:pt x="59982" y="335813"/>
                  </a:moveTo>
                  <a:lnTo>
                    <a:pt x="59956" y="276034"/>
                  </a:lnTo>
                  <a:lnTo>
                    <a:pt x="152" y="284695"/>
                  </a:lnTo>
                  <a:lnTo>
                    <a:pt x="190" y="344106"/>
                  </a:lnTo>
                  <a:lnTo>
                    <a:pt x="59982" y="335813"/>
                  </a:lnTo>
                  <a:close/>
                </a:path>
                <a:path w="284479" h="1291590">
                  <a:moveTo>
                    <a:pt x="60045" y="455066"/>
                  </a:moveTo>
                  <a:lnTo>
                    <a:pt x="60007" y="395312"/>
                  </a:lnTo>
                  <a:lnTo>
                    <a:pt x="203" y="403275"/>
                  </a:lnTo>
                  <a:lnTo>
                    <a:pt x="241" y="462699"/>
                  </a:lnTo>
                  <a:lnTo>
                    <a:pt x="60045" y="455066"/>
                  </a:lnTo>
                  <a:close/>
                </a:path>
                <a:path w="284479" h="1291590">
                  <a:moveTo>
                    <a:pt x="60096" y="574243"/>
                  </a:moveTo>
                  <a:lnTo>
                    <a:pt x="60058" y="514527"/>
                  </a:lnTo>
                  <a:lnTo>
                    <a:pt x="266" y="521830"/>
                  </a:lnTo>
                  <a:lnTo>
                    <a:pt x="304" y="581202"/>
                  </a:lnTo>
                  <a:lnTo>
                    <a:pt x="60096" y="574243"/>
                  </a:lnTo>
                  <a:close/>
                </a:path>
                <a:path w="284479" h="1291590">
                  <a:moveTo>
                    <a:pt x="60134" y="693356"/>
                  </a:moveTo>
                  <a:lnTo>
                    <a:pt x="60109" y="633666"/>
                  </a:lnTo>
                  <a:lnTo>
                    <a:pt x="342" y="640295"/>
                  </a:lnTo>
                  <a:lnTo>
                    <a:pt x="368" y="699655"/>
                  </a:lnTo>
                  <a:lnTo>
                    <a:pt x="60134" y="693356"/>
                  </a:lnTo>
                  <a:close/>
                </a:path>
                <a:path w="284479" h="1291590">
                  <a:moveTo>
                    <a:pt x="60185" y="812431"/>
                  </a:moveTo>
                  <a:lnTo>
                    <a:pt x="60172" y="752767"/>
                  </a:lnTo>
                  <a:lnTo>
                    <a:pt x="406" y="758723"/>
                  </a:lnTo>
                  <a:lnTo>
                    <a:pt x="444" y="818070"/>
                  </a:lnTo>
                  <a:lnTo>
                    <a:pt x="60185" y="812431"/>
                  </a:lnTo>
                  <a:close/>
                </a:path>
                <a:path w="284479" h="1291590">
                  <a:moveTo>
                    <a:pt x="60248" y="931430"/>
                  </a:moveTo>
                  <a:lnTo>
                    <a:pt x="60223" y="871791"/>
                  </a:lnTo>
                  <a:lnTo>
                    <a:pt x="469" y="877087"/>
                  </a:lnTo>
                  <a:lnTo>
                    <a:pt x="520" y="936409"/>
                  </a:lnTo>
                  <a:lnTo>
                    <a:pt x="60248" y="931430"/>
                  </a:lnTo>
                  <a:close/>
                </a:path>
                <a:path w="284479" h="1291590">
                  <a:moveTo>
                    <a:pt x="60299" y="1050404"/>
                  </a:moveTo>
                  <a:lnTo>
                    <a:pt x="60274" y="990777"/>
                  </a:lnTo>
                  <a:lnTo>
                    <a:pt x="546" y="995426"/>
                  </a:lnTo>
                  <a:lnTo>
                    <a:pt x="571" y="1054696"/>
                  </a:lnTo>
                  <a:lnTo>
                    <a:pt x="60299" y="1050404"/>
                  </a:lnTo>
                  <a:close/>
                </a:path>
                <a:path w="284479" h="1291590">
                  <a:moveTo>
                    <a:pt x="60350" y="1169301"/>
                  </a:moveTo>
                  <a:lnTo>
                    <a:pt x="60337" y="1109713"/>
                  </a:lnTo>
                  <a:lnTo>
                    <a:pt x="609" y="1113688"/>
                  </a:lnTo>
                  <a:lnTo>
                    <a:pt x="647" y="1172946"/>
                  </a:lnTo>
                  <a:lnTo>
                    <a:pt x="60350" y="1169301"/>
                  </a:lnTo>
                  <a:close/>
                </a:path>
                <a:path w="284479" h="1291590">
                  <a:moveTo>
                    <a:pt x="60401" y="1288135"/>
                  </a:moveTo>
                  <a:lnTo>
                    <a:pt x="60388" y="1228572"/>
                  </a:lnTo>
                  <a:lnTo>
                    <a:pt x="673" y="1231887"/>
                  </a:lnTo>
                  <a:lnTo>
                    <a:pt x="711" y="1291120"/>
                  </a:lnTo>
                  <a:lnTo>
                    <a:pt x="60401" y="1288135"/>
                  </a:lnTo>
                  <a:close/>
                </a:path>
                <a:path w="284479" h="1291590">
                  <a:moveTo>
                    <a:pt x="170827" y="79349"/>
                  </a:moveTo>
                  <a:lnTo>
                    <a:pt x="170802" y="18884"/>
                  </a:lnTo>
                  <a:lnTo>
                    <a:pt x="109715" y="29070"/>
                  </a:lnTo>
                  <a:lnTo>
                    <a:pt x="109740" y="89179"/>
                  </a:lnTo>
                  <a:lnTo>
                    <a:pt x="170827" y="79349"/>
                  </a:lnTo>
                  <a:close/>
                </a:path>
                <a:path w="284479" h="1291590">
                  <a:moveTo>
                    <a:pt x="170853" y="199936"/>
                  </a:moveTo>
                  <a:lnTo>
                    <a:pt x="170827" y="139522"/>
                  </a:lnTo>
                  <a:lnTo>
                    <a:pt x="109753" y="149009"/>
                  </a:lnTo>
                  <a:lnTo>
                    <a:pt x="109778" y="209105"/>
                  </a:lnTo>
                  <a:lnTo>
                    <a:pt x="170853" y="199936"/>
                  </a:lnTo>
                  <a:close/>
                </a:path>
                <a:path w="284479" h="1291590">
                  <a:moveTo>
                    <a:pt x="170891" y="320421"/>
                  </a:moveTo>
                  <a:lnTo>
                    <a:pt x="170865" y="260019"/>
                  </a:lnTo>
                  <a:lnTo>
                    <a:pt x="109804" y="268833"/>
                  </a:lnTo>
                  <a:lnTo>
                    <a:pt x="109829" y="328904"/>
                  </a:lnTo>
                  <a:lnTo>
                    <a:pt x="170891" y="320421"/>
                  </a:lnTo>
                  <a:close/>
                </a:path>
                <a:path w="284479" h="1291590">
                  <a:moveTo>
                    <a:pt x="170903" y="440893"/>
                  </a:moveTo>
                  <a:lnTo>
                    <a:pt x="170891" y="380530"/>
                  </a:lnTo>
                  <a:lnTo>
                    <a:pt x="109829" y="388683"/>
                  </a:lnTo>
                  <a:lnTo>
                    <a:pt x="109855" y="448703"/>
                  </a:lnTo>
                  <a:lnTo>
                    <a:pt x="170903" y="440893"/>
                  </a:lnTo>
                  <a:close/>
                </a:path>
                <a:path w="284479" h="1291590">
                  <a:moveTo>
                    <a:pt x="170929" y="561327"/>
                  </a:moveTo>
                  <a:lnTo>
                    <a:pt x="170916" y="500976"/>
                  </a:lnTo>
                  <a:lnTo>
                    <a:pt x="109880" y="508444"/>
                  </a:lnTo>
                  <a:lnTo>
                    <a:pt x="109905" y="568452"/>
                  </a:lnTo>
                  <a:lnTo>
                    <a:pt x="170929" y="561327"/>
                  </a:lnTo>
                  <a:close/>
                </a:path>
                <a:path w="284479" h="1291590">
                  <a:moveTo>
                    <a:pt x="170967" y="681685"/>
                  </a:moveTo>
                  <a:lnTo>
                    <a:pt x="170954" y="621372"/>
                  </a:lnTo>
                  <a:lnTo>
                    <a:pt x="109931" y="628142"/>
                  </a:lnTo>
                  <a:lnTo>
                    <a:pt x="109956" y="688111"/>
                  </a:lnTo>
                  <a:lnTo>
                    <a:pt x="170967" y="681685"/>
                  </a:lnTo>
                  <a:close/>
                </a:path>
                <a:path w="284479" h="1291590">
                  <a:moveTo>
                    <a:pt x="170980" y="741705"/>
                  </a:moveTo>
                  <a:lnTo>
                    <a:pt x="109982" y="747788"/>
                  </a:lnTo>
                  <a:lnTo>
                    <a:pt x="109994" y="807758"/>
                  </a:lnTo>
                  <a:lnTo>
                    <a:pt x="170980" y="802005"/>
                  </a:lnTo>
                  <a:lnTo>
                    <a:pt x="170980" y="741705"/>
                  </a:lnTo>
                  <a:close/>
                </a:path>
                <a:path w="284479" h="1291590">
                  <a:moveTo>
                    <a:pt x="171018" y="922235"/>
                  </a:moveTo>
                  <a:lnTo>
                    <a:pt x="171005" y="861961"/>
                  </a:lnTo>
                  <a:lnTo>
                    <a:pt x="110020" y="867371"/>
                  </a:lnTo>
                  <a:lnTo>
                    <a:pt x="110045" y="927315"/>
                  </a:lnTo>
                  <a:lnTo>
                    <a:pt x="171018" y="922235"/>
                  </a:lnTo>
                  <a:close/>
                </a:path>
                <a:path w="284479" h="1291590">
                  <a:moveTo>
                    <a:pt x="171030" y="1042403"/>
                  </a:moveTo>
                  <a:lnTo>
                    <a:pt x="171018" y="982192"/>
                  </a:lnTo>
                  <a:lnTo>
                    <a:pt x="110045" y="986917"/>
                  </a:lnTo>
                  <a:lnTo>
                    <a:pt x="110070" y="1046810"/>
                  </a:lnTo>
                  <a:lnTo>
                    <a:pt x="171030" y="1042403"/>
                  </a:lnTo>
                  <a:close/>
                </a:path>
                <a:path w="284479" h="1291590">
                  <a:moveTo>
                    <a:pt x="171056" y="1162558"/>
                  </a:moveTo>
                  <a:lnTo>
                    <a:pt x="171043" y="1102360"/>
                  </a:lnTo>
                  <a:lnTo>
                    <a:pt x="110096" y="1106398"/>
                  </a:lnTo>
                  <a:lnTo>
                    <a:pt x="110109" y="1166266"/>
                  </a:lnTo>
                  <a:lnTo>
                    <a:pt x="171056" y="1162558"/>
                  </a:lnTo>
                  <a:close/>
                </a:path>
                <a:path w="284479" h="1291590">
                  <a:moveTo>
                    <a:pt x="171081" y="1222451"/>
                  </a:moveTo>
                  <a:lnTo>
                    <a:pt x="110121" y="1225816"/>
                  </a:lnTo>
                  <a:lnTo>
                    <a:pt x="110147" y="1285659"/>
                  </a:lnTo>
                  <a:lnTo>
                    <a:pt x="171081" y="1282623"/>
                  </a:lnTo>
                  <a:lnTo>
                    <a:pt x="171081" y="1222451"/>
                  </a:lnTo>
                  <a:close/>
                </a:path>
                <a:path w="284479" h="1291590">
                  <a:moveTo>
                    <a:pt x="284073" y="1216202"/>
                  </a:moveTo>
                  <a:lnTo>
                    <a:pt x="221869" y="1219631"/>
                  </a:lnTo>
                  <a:lnTo>
                    <a:pt x="221881" y="1280109"/>
                  </a:lnTo>
                  <a:lnTo>
                    <a:pt x="284073" y="1277010"/>
                  </a:lnTo>
                  <a:lnTo>
                    <a:pt x="284073" y="1216202"/>
                  </a:lnTo>
                  <a:close/>
                </a:path>
                <a:path w="284479" h="1291590">
                  <a:moveTo>
                    <a:pt x="284073" y="1094841"/>
                  </a:moveTo>
                  <a:lnTo>
                    <a:pt x="221843" y="1098981"/>
                  </a:lnTo>
                  <a:lnTo>
                    <a:pt x="221856" y="1159471"/>
                  </a:lnTo>
                  <a:lnTo>
                    <a:pt x="284073" y="1155674"/>
                  </a:lnTo>
                  <a:lnTo>
                    <a:pt x="284073" y="1094841"/>
                  </a:lnTo>
                  <a:close/>
                </a:path>
                <a:path w="284479" h="1291590">
                  <a:moveTo>
                    <a:pt x="284073" y="973442"/>
                  </a:moveTo>
                  <a:lnTo>
                    <a:pt x="221818" y="978268"/>
                  </a:lnTo>
                  <a:lnTo>
                    <a:pt x="221830" y="1038758"/>
                  </a:lnTo>
                  <a:lnTo>
                    <a:pt x="284073" y="1034275"/>
                  </a:lnTo>
                  <a:lnTo>
                    <a:pt x="284073" y="973442"/>
                  </a:lnTo>
                  <a:close/>
                </a:path>
                <a:path w="284479" h="1291590">
                  <a:moveTo>
                    <a:pt x="284073" y="851941"/>
                  </a:moveTo>
                  <a:lnTo>
                    <a:pt x="221818" y="857465"/>
                  </a:lnTo>
                  <a:lnTo>
                    <a:pt x="221818" y="918006"/>
                  </a:lnTo>
                  <a:lnTo>
                    <a:pt x="284073" y="912850"/>
                  </a:lnTo>
                  <a:lnTo>
                    <a:pt x="284073" y="851941"/>
                  </a:lnTo>
                  <a:close/>
                </a:path>
                <a:path w="284479" h="1291590">
                  <a:moveTo>
                    <a:pt x="284073" y="730402"/>
                  </a:moveTo>
                  <a:lnTo>
                    <a:pt x="221805" y="736638"/>
                  </a:lnTo>
                  <a:lnTo>
                    <a:pt x="221805" y="797204"/>
                  </a:lnTo>
                  <a:lnTo>
                    <a:pt x="284073" y="791337"/>
                  </a:lnTo>
                  <a:lnTo>
                    <a:pt x="284073" y="730402"/>
                  </a:lnTo>
                  <a:close/>
                </a:path>
                <a:path w="284479" h="1291590">
                  <a:moveTo>
                    <a:pt x="284073" y="608825"/>
                  </a:moveTo>
                  <a:lnTo>
                    <a:pt x="221780" y="615734"/>
                  </a:lnTo>
                  <a:lnTo>
                    <a:pt x="221805" y="676313"/>
                  </a:lnTo>
                  <a:lnTo>
                    <a:pt x="284073" y="669759"/>
                  </a:lnTo>
                  <a:lnTo>
                    <a:pt x="284073" y="608825"/>
                  </a:lnTo>
                  <a:close/>
                </a:path>
                <a:path w="284479" h="1291590">
                  <a:moveTo>
                    <a:pt x="284073" y="487159"/>
                  </a:moveTo>
                  <a:lnTo>
                    <a:pt x="221767" y="494779"/>
                  </a:lnTo>
                  <a:lnTo>
                    <a:pt x="221780" y="555396"/>
                  </a:lnTo>
                  <a:lnTo>
                    <a:pt x="284073" y="548144"/>
                  </a:lnTo>
                  <a:lnTo>
                    <a:pt x="284073" y="487159"/>
                  </a:lnTo>
                  <a:close/>
                </a:path>
                <a:path w="284479" h="1291590">
                  <a:moveTo>
                    <a:pt x="284073" y="365455"/>
                  </a:moveTo>
                  <a:lnTo>
                    <a:pt x="221754" y="373761"/>
                  </a:lnTo>
                  <a:lnTo>
                    <a:pt x="221767" y="434403"/>
                  </a:lnTo>
                  <a:lnTo>
                    <a:pt x="284073" y="426453"/>
                  </a:lnTo>
                  <a:lnTo>
                    <a:pt x="284073" y="365455"/>
                  </a:lnTo>
                  <a:close/>
                </a:path>
                <a:path w="284479" h="1291590">
                  <a:moveTo>
                    <a:pt x="284073" y="243700"/>
                  </a:moveTo>
                  <a:lnTo>
                    <a:pt x="221754" y="252679"/>
                  </a:lnTo>
                  <a:lnTo>
                    <a:pt x="221754" y="313372"/>
                  </a:lnTo>
                  <a:lnTo>
                    <a:pt x="284073" y="304723"/>
                  </a:lnTo>
                  <a:lnTo>
                    <a:pt x="284073" y="243700"/>
                  </a:lnTo>
                  <a:close/>
                </a:path>
                <a:path w="284479" h="1291590">
                  <a:moveTo>
                    <a:pt x="284073" y="121881"/>
                  </a:moveTo>
                  <a:lnTo>
                    <a:pt x="221742" y="131597"/>
                  </a:lnTo>
                  <a:lnTo>
                    <a:pt x="221742" y="192316"/>
                  </a:lnTo>
                  <a:lnTo>
                    <a:pt x="284073" y="182943"/>
                  </a:lnTo>
                  <a:lnTo>
                    <a:pt x="284073" y="121881"/>
                  </a:lnTo>
                  <a:close/>
                </a:path>
                <a:path w="284479" h="1291590">
                  <a:moveTo>
                    <a:pt x="284073" y="0"/>
                  </a:moveTo>
                  <a:lnTo>
                    <a:pt x="221716" y="10401"/>
                  </a:lnTo>
                  <a:lnTo>
                    <a:pt x="221729" y="71158"/>
                  </a:lnTo>
                  <a:lnTo>
                    <a:pt x="284073" y="61087"/>
                  </a:lnTo>
                  <a:lnTo>
                    <a:pt x="284073" y="0"/>
                  </a:lnTo>
                  <a:close/>
                </a:path>
              </a:pathLst>
            </a:custGeom>
            <a:solidFill>
              <a:srgbClr val="40404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0" name="object 226">
              <a:extLst>
                <a:ext uri="{FF2B5EF4-FFF2-40B4-BE49-F238E27FC236}">
                  <a16:creationId xmlns:a16="http://schemas.microsoft.com/office/drawing/2014/main" id="{2B1DA280-8960-4977-8B0C-1BAD1C64CCD6}"/>
                </a:ext>
              </a:extLst>
            </p:cNvPr>
            <p:cNvSpPr/>
            <p:nvPr/>
          </p:nvSpPr>
          <p:spPr>
            <a:xfrm>
              <a:off x="6546748" y="7515387"/>
              <a:ext cx="532130" cy="1944370"/>
            </a:xfrm>
            <a:custGeom>
              <a:avLst/>
              <a:gdLst/>
              <a:ahLst/>
              <a:cxnLst/>
              <a:rect l="l" t="t" r="r" b="b"/>
              <a:pathLst>
                <a:path w="532129" h="1944370">
                  <a:moveTo>
                    <a:pt x="531973" y="0"/>
                  </a:moveTo>
                  <a:lnTo>
                    <a:pt x="0" y="98803"/>
                  </a:lnTo>
                  <a:lnTo>
                    <a:pt x="0" y="1943898"/>
                  </a:lnTo>
                  <a:lnTo>
                    <a:pt x="531973" y="0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1" name="object 227">
              <a:extLst>
                <a:ext uri="{FF2B5EF4-FFF2-40B4-BE49-F238E27FC236}">
                  <a16:creationId xmlns:a16="http://schemas.microsoft.com/office/drawing/2014/main" id="{CE4A38CD-2521-438C-867D-A5D5EA977EB0}"/>
                </a:ext>
              </a:extLst>
            </p:cNvPr>
            <p:cNvSpPr/>
            <p:nvPr/>
          </p:nvSpPr>
          <p:spPr>
            <a:xfrm>
              <a:off x="10653927" y="7033195"/>
              <a:ext cx="1129665" cy="2133600"/>
            </a:xfrm>
            <a:custGeom>
              <a:avLst/>
              <a:gdLst/>
              <a:ahLst/>
              <a:cxnLst/>
              <a:rect l="l" t="t" r="r" b="b"/>
              <a:pathLst>
                <a:path w="1129665" h="2133600">
                  <a:moveTo>
                    <a:pt x="583772" y="0"/>
                  </a:moveTo>
                  <a:lnTo>
                    <a:pt x="0" y="112708"/>
                  </a:lnTo>
                  <a:lnTo>
                    <a:pt x="0" y="2133160"/>
                  </a:lnTo>
                  <a:lnTo>
                    <a:pt x="1129232" y="2133160"/>
                  </a:lnTo>
                  <a:lnTo>
                    <a:pt x="1129232" y="135325"/>
                  </a:lnTo>
                  <a:lnTo>
                    <a:pt x="583772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2" name="object 228">
              <a:extLst>
                <a:ext uri="{FF2B5EF4-FFF2-40B4-BE49-F238E27FC236}">
                  <a16:creationId xmlns:a16="http://schemas.microsoft.com/office/drawing/2014/main" id="{A4078806-A23D-471F-AC8A-08E04FE2FDE7}"/>
                </a:ext>
              </a:extLst>
            </p:cNvPr>
            <p:cNvSpPr/>
            <p:nvPr/>
          </p:nvSpPr>
          <p:spPr>
            <a:xfrm>
              <a:off x="11214654" y="7033201"/>
              <a:ext cx="46355" cy="2133600"/>
            </a:xfrm>
            <a:custGeom>
              <a:avLst/>
              <a:gdLst/>
              <a:ahLst/>
              <a:cxnLst/>
              <a:rect l="l" t="t" r="r" b="b"/>
              <a:pathLst>
                <a:path w="46354" h="2133600">
                  <a:moveTo>
                    <a:pt x="23046" y="0"/>
                  </a:moveTo>
                  <a:lnTo>
                    <a:pt x="0" y="4272"/>
                  </a:lnTo>
                  <a:lnTo>
                    <a:pt x="0" y="2133160"/>
                  </a:lnTo>
                  <a:lnTo>
                    <a:pt x="46092" y="2133160"/>
                  </a:lnTo>
                  <a:lnTo>
                    <a:pt x="46092" y="3528"/>
                  </a:lnTo>
                  <a:lnTo>
                    <a:pt x="2304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3" name="object 229">
              <a:extLst>
                <a:ext uri="{FF2B5EF4-FFF2-40B4-BE49-F238E27FC236}">
                  <a16:creationId xmlns:a16="http://schemas.microsoft.com/office/drawing/2014/main" id="{7D63A8D9-C2C3-4907-9C8B-DCC1FAD404A9}"/>
                </a:ext>
              </a:extLst>
            </p:cNvPr>
            <p:cNvSpPr/>
            <p:nvPr/>
          </p:nvSpPr>
          <p:spPr>
            <a:xfrm>
              <a:off x="11237693" y="7033202"/>
              <a:ext cx="545465" cy="2133600"/>
            </a:xfrm>
            <a:custGeom>
              <a:avLst/>
              <a:gdLst/>
              <a:ahLst/>
              <a:cxnLst/>
              <a:rect l="l" t="t" r="r" b="b"/>
              <a:pathLst>
                <a:path w="545465" h="2133600">
                  <a:moveTo>
                    <a:pt x="0" y="0"/>
                  </a:moveTo>
                  <a:lnTo>
                    <a:pt x="0" y="2133149"/>
                  </a:lnTo>
                  <a:lnTo>
                    <a:pt x="545470" y="2133149"/>
                  </a:lnTo>
                  <a:lnTo>
                    <a:pt x="545470" y="1353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4" name="object 230">
              <a:extLst>
                <a:ext uri="{FF2B5EF4-FFF2-40B4-BE49-F238E27FC236}">
                  <a16:creationId xmlns:a16="http://schemas.microsoft.com/office/drawing/2014/main" id="{E134572D-9510-40C6-95BE-8215E300EF8E}"/>
                </a:ext>
              </a:extLst>
            </p:cNvPr>
            <p:cNvSpPr/>
            <p:nvPr/>
          </p:nvSpPr>
          <p:spPr>
            <a:xfrm>
              <a:off x="10591727" y="7082056"/>
              <a:ext cx="1254125" cy="2368550"/>
            </a:xfrm>
            <a:custGeom>
              <a:avLst/>
              <a:gdLst/>
              <a:ahLst/>
              <a:cxnLst/>
              <a:rect l="l" t="t" r="r" b="b"/>
              <a:pathLst>
                <a:path w="1254125" h="2368550">
                  <a:moveTo>
                    <a:pt x="648074" y="0"/>
                  </a:moveTo>
                  <a:lnTo>
                    <a:pt x="0" y="120394"/>
                  </a:lnTo>
                  <a:lnTo>
                    <a:pt x="0" y="2368168"/>
                  </a:lnTo>
                  <a:lnTo>
                    <a:pt x="1253637" y="2368168"/>
                  </a:lnTo>
                  <a:lnTo>
                    <a:pt x="1253637" y="145503"/>
                  </a:lnTo>
                  <a:lnTo>
                    <a:pt x="648074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5" name="object 231">
              <a:extLst>
                <a:ext uri="{FF2B5EF4-FFF2-40B4-BE49-F238E27FC236}">
                  <a16:creationId xmlns:a16="http://schemas.microsoft.com/office/drawing/2014/main" id="{2675F430-448C-4031-8EE0-E39D4F807CA7}"/>
                </a:ext>
              </a:extLst>
            </p:cNvPr>
            <p:cNvSpPr/>
            <p:nvPr/>
          </p:nvSpPr>
          <p:spPr>
            <a:xfrm>
              <a:off x="11214226" y="7082058"/>
              <a:ext cx="51435" cy="2368550"/>
            </a:xfrm>
            <a:custGeom>
              <a:avLst/>
              <a:gdLst/>
              <a:ahLst/>
              <a:cxnLst/>
              <a:rect l="l" t="t" r="r" b="b"/>
              <a:pathLst>
                <a:path w="51434" h="2368550">
                  <a:moveTo>
                    <a:pt x="25580" y="0"/>
                  </a:moveTo>
                  <a:lnTo>
                    <a:pt x="0" y="4753"/>
                  </a:lnTo>
                  <a:lnTo>
                    <a:pt x="0" y="2368158"/>
                  </a:lnTo>
                  <a:lnTo>
                    <a:pt x="51171" y="2368158"/>
                  </a:lnTo>
                  <a:lnTo>
                    <a:pt x="51171" y="3916"/>
                  </a:lnTo>
                  <a:lnTo>
                    <a:pt x="2558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6" name="object 232">
              <a:extLst>
                <a:ext uri="{FF2B5EF4-FFF2-40B4-BE49-F238E27FC236}">
                  <a16:creationId xmlns:a16="http://schemas.microsoft.com/office/drawing/2014/main" id="{3D1A8409-A325-4E3F-A4B2-13259FE8BAB3}"/>
                </a:ext>
              </a:extLst>
            </p:cNvPr>
            <p:cNvSpPr/>
            <p:nvPr/>
          </p:nvSpPr>
          <p:spPr>
            <a:xfrm>
              <a:off x="11239799" y="7082066"/>
              <a:ext cx="605790" cy="2368550"/>
            </a:xfrm>
            <a:custGeom>
              <a:avLst/>
              <a:gdLst/>
              <a:ahLst/>
              <a:cxnLst/>
              <a:rect l="l" t="t" r="r" b="b"/>
              <a:pathLst>
                <a:path w="605790" h="2368550">
                  <a:moveTo>
                    <a:pt x="0" y="0"/>
                  </a:moveTo>
                  <a:lnTo>
                    <a:pt x="0" y="2368158"/>
                  </a:lnTo>
                  <a:lnTo>
                    <a:pt x="605562" y="2368158"/>
                  </a:lnTo>
                  <a:lnTo>
                    <a:pt x="605562" y="1454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7" name="object 233">
              <a:extLst>
                <a:ext uri="{FF2B5EF4-FFF2-40B4-BE49-F238E27FC236}">
                  <a16:creationId xmlns:a16="http://schemas.microsoft.com/office/drawing/2014/main" id="{0B7515B0-C593-4532-980F-1DCF152C02DB}"/>
                </a:ext>
              </a:extLst>
            </p:cNvPr>
            <p:cNvSpPr/>
            <p:nvPr/>
          </p:nvSpPr>
          <p:spPr>
            <a:xfrm>
              <a:off x="11239799" y="7227559"/>
              <a:ext cx="605790" cy="2223135"/>
            </a:xfrm>
            <a:custGeom>
              <a:avLst/>
              <a:gdLst/>
              <a:ahLst/>
              <a:cxnLst/>
              <a:rect l="l" t="t" r="r" b="b"/>
              <a:pathLst>
                <a:path w="605790" h="2223134">
                  <a:moveTo>
                    <a:pt x="605562" y="0"/>
                  </a:moveTo>
                  <a:lnTo>
                    <a:pt x="0" y="2222665"/>
                  </a:lnTo>
                  <a:lnTo>
                    <a:pt x="605562" y="2222665"/>
                  </a:lnTo>
                  <a:lnTo>
                    <a:pt x="605562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8" name="object 234">
              <a:extLst>
                <a:ext uri="{FF2B5EF4-FFF2-40B4-BE49-F238E27FC236}">
                  <a16:creationId xmlns:a16="http://schemas.microsoft.com/office/drawing/2014/main" id="{E79F58C7-BB5D-4725-8D08-8544BFC52D03}"/>
                </a:ext>
              </a:extLst>
            </p:cNvPr>
            <p:cNvSpPr/>
            <p:nvPr/>
          </p:nvSpPr>
          <p:spPr>
            <a:xfrm>
              <a:off x="10653927" y="9450225"/>
              <a:ext cx="1129665" cy="50800"/>
            </a:xfrm>
            <a:custGeom>
              <a:avLst/>
              <a:gdLst/>
              <a:ahLst/>
              <a:cxnLst/>
              <a:rect l="l" t="t" r="r" b="b"/>
              <a:pathLst>
                <a:path w="1129665" h="50800">
                  <a:moveTo>
                    <a:pt x="1129232" y="0"/>
                  </a:moveTo>
                  <a:lnTo>
                    <a:pt x="0" y="0"/>
                  </a:lnTo>
                  <a:lnTo>
                    <a:pt x="0" y="50595"/>
                  </a:lnTo>
                  <a:lnTo>
                    <a:pt x="1129232" y="50595"/>
                  </a:lnTo>
                  <a:lnTo>
                    <a:pt x="1129232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9" name="object 235">
              <a:extLst>
                <a:ext uri="{FF2B5EF4-FFF2-40B4-BE49-F238E27FC236}">
                  <a16:creationId xmlns:a16="http://schemas.microsoft.com/office/drawing/2014/main" id="{41EFC291-FD04-41F2-B756-A1BCC9611B4B}"/>
                </a:ext>
              </a:extLst>
            </p:cNvPr>
            <p:cNvSpPr/>
            <p:nvPr/>
          </p:nvSpPr>
          <p:spPr>
            <a:xfrm>
              <a:off x="10678805" y="7473454"/>
              <a:ext cx="470534" cy="1728470"/>
            </a:xfrm>
            <a:custGeom>
              <a:avLst/>
              <a:gdLst/>
              <a:ahLst/>
              <a:cxnLst/>
              <a:rect l="l" t="t" r="r" b="b"/>
              <a:pathLst>
                <a:path w="470534" h="1728470">
                  <a:moveTo>
                    <a:pt x="470142" y="0"/>
                  </a:moveTo>
                  <a:lnTo>
                    <a:pt x="0" y="78081"/>
                  </a:lnTo>
                  <a:lnTo>
                    <a:pt x="0" y="1728020"/>
                  </a:lnTo>
                  <a:lnTo>
                    <a:pt x="470142" y="1712398"/>
                  </a:lnTo>
                  <a:lnTo>
                    <a:pt x="470142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0" name="object 236">
              <a:extLst>
                <a:ext uri="{FF2B5EF4-FFF2-40B4-BE49-F238E27FC236}">
                  <a16:creationId xmlns:a16="http://schemas.microsoft.com/office/drawing/2014/main" id="{55EDAE71-F11D-4D2E-AFEE-FAFD3D7F045C}"/>
                </a:ext>
              </a:extLst>
            </p:cNvPr>
            <p:cNvSpPr/>
            <p:nvPr/>
          </p:nvSpPr>
          <p:spPr>
            <a:xfrm>
              <a:off x="10678805" y="7473454"/>
              <a:ext cx="470534" cy="105410"/>
            </a:xfrm>
            <a:custGeom>
              <a:avLst/>
              <a:gdLst/>
              <a:ahLst/>
              <a:cxnLst/>
              <a:rect l="l" t="t" r="r" b="b"/>
              <a:pathLst>
                <a:path w="470534" h="105409">
                  <a:moveTo>
                    <a:pt x="470142" y="0"/>
                  </a:moveTo>
                  <a:lnTo>
                    <a:pt x="0" y="78081"/>
                  </a:lnTo>
                  <a:lnTo>
                    <a:pt x="0" y="105378"/>
                  </a:lnTo>
                  <a:lnTo>
                    <a:pt x="470142" y="27329"/>
                  </a:lnTo>
                  <a:lnTo>
                    <a:pt x="470142" y="0"/>
                  </a:lnTo>
                  <a:close/>
                </a:path>
              </a:pathLst>
            </a:custGeom>
            <a:solidFill>
              <a:srgbClr val="404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1" name="object 237">
              <a:extLst>
                <a:ext uri="{FF2B5EF4-FFF2-40B4-BE49-F238E27FC236}">
                  <a16:creationId xmlns:a16="http://schemas.microsoft.com/office/drawing/2014/main" id="{DFCDE753-3424-4AF2-B3F7-B2E4E41D23F7}"/>
                </a:ext>
              </a:extLst>
            </p:cNvPr>
            <p:cNvSpPr/>
            <p:nvPr/>
          </p:nvSpPr>
          <p:spPr>
            <a:xfrm>
              <a:off x="10678805" y="9185860"/>
              <a:ext cx="470534" cy="40005"/>
            </a:xfrm>
            <a:custGeom>
              <a:avLst/>
              <a:gdLst/>
              <a:ahLst/>
              <a:cxnLst/>
              <a:rect l="l" t="t" r="r" b="b"/>
              <a:pathLst>
                <a:path w="470534" h="40004">
                  <a:moveTo>
                    <a:pt x="470142" y="0"/>
                  </a:moveTo>
                  <a:lnTo>
                    <a:pt x="0" y="15622"/>
                  </a:lnTo>
                  <a:lnTo>
                    <a:pt x="0" y="39412"/>
                  </a:lnTo>
                  <a:lnTo>
                    <a:pt x="470142" y="23789"/>
                  </a:lnTo>
                  <a:lnTo>
                    <a:pt x="470142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2" name="object 238">
              <a:extLst>
                <a:ext uri="{FF2B5EF4-FFF2-40B4-BE49-F238E27FC236}">
                  <a16:creationId xmlns:a16="http://schemas.microsoft.com/office/drawing/2014/main" id="{778DF60C-B952-457F-8C3C-20C1798B4B60}"/>
                </a:ext>
              </a:extLst>
            </p:cNvPr>
            <p:cNvSpPr/>
            <p:nvPr/>
          </p:nvSpPr>
          <p:spPr>
            <a:xfrm>
              <a:off x="10741838" y="7563046"/>
              <a:ext cx="346075" cy="1572895"/>
            </a:xfrm>
            <a:custGeom>
              <a:avLst/>
              <a:gdLst/>
              <a:ahLst/>
              <a:cxnLst/>
              <a:rect l="l" t="t" r="r" b="b"/>
              <a:pathLst>
                <a:path w="346075" h="1572895">
                  <a:moveTo>
                    <a:pt x="72936" y="118427"/>
                  </a:moveTo>
                  <a:lnTo>
                    <a:pt x="72885" y="45529"/>
                  </a:lnTo>
                  <a:lnTo>
                    <a:pt x="0" y="57683"/>
                  </a:lnTo>
                  <a:lnTo>
                    <a:pt x="25" y="130162"/>
                  </a:lnTo>
                  <a:lnTo>
                    <a:pt x="72936" y="118427"/>
                  </a:lnTo>
                  <a:close/>
                </a:path>
                <a:path w="346075" h="1572895">
                  <a:moveTo>
                    <a:pt x="72999" y="263817"/>
                  </a:moveTo>
                  <a:lnTo>
                    <a:pt x="72948" y="190982"/>
                  </a:lnTo>
                  <a:lnTo>
                    <a:pt x="76" y="202311"/>
                  </a:lnTo>
                  <a:lnTo>
                    <a:pt x="114" y="274751"/>
                  </a:lnTo>
                  <a:lnTo>
                    <a:pt x="72999" y="263817"/>
                  </a:lnTo>
                  <a:close/>
                </a:path>
                <a:path w="346075" h="1572895">
                  <a:moveTo>
                    <a:pt x="73050" y="409105"/>
                  </a:moveTo>
                  <a:lnTo>
                    <a:pt x="73025" y="336283"/>
                  </a:lnTo>
                  <a:lnTo>
                    <a:pt x="152" y="346811"/>
                  </a:lnTo>
                  <a:lnTo>
                    <a:pt x="203" y="419214"/>
                  </a:lnTo>
                  <a:lnTo>
                    <a:pt x="73050" y="409105"/>
                  </a:lnTo>
                  <a:close/>
                </a:path>
                <a:path w="346075" h="1572895">
                  <a:moveTo>
                    <a:pt x="73113" y="554367"/>
                  </a:moveTo>
                  <a:lnTo>
                    <a:pt x="73101" y="481584"/>
                  </a:lnTo>
                  <a:lnTo>
                    <a:pt x="228" y="491274"/>
                  </a:lnTo>
                  <a:lnTo>
                    <a:pt x="266" y="563676"/>
                  </a:lnTo>
                  <a:lnTo>
                    <a:pt x="73113" y="554367"/>
                  </a:lnTo>
                  <a:close/>
                </a:path>
                <a:path w="346075" h="1572895">
                  <a:moveTo>
                    <a:pt x="73190" y="699554"/>
                  </a:moveTo>
                  <a:lnTo>
                    <a:pt x="73152" y="626808"/>
                  </a:lnTo>
                  <a:lnTo>
                    <a:pt x="317" y="635698"/>
                  </a:lnTo>
                  <a:lnTo>
                    <a:pt x="355" y="708037"/>
                  </a:lnTo>
                  <a:lnTo>
                    <a:pt x="73190" y="699554"/>
                  </a:lnTo>
                  <a:close/>
                </a:path>
                <a:path w="346075" h="1572895">
                  <a:moveTo>
                    <a:pt x="73253" y="844677"/>
                  </a:moveTo>
                  <a:lnTo>
                    <a:pt x="73202" y="771956"/>
                  </a:lnTo>
                  <a:lnTo>
                    <a:pt x="393" y="780021"/>
                  </a:lnTo>
                  <a:lnTo>
                    <a:pt x="444" y="852335"/>
                  </a:lnTo>
                  <a:lnTo>
                    <a:pt x="73253" y="844677"/>
                  </a:lnTo>
                  <a:close/>
                </a:path>
                <a:path w="346075" h="1572895">
                  <a:moveTo>
                    <a:pt x="73304" y="989736"/>
                  </a:moveTo>
                  <a:lnTo>
                    <a:pt x="73279" y="917016"/>
                  </a:lnTo>
                  <a:lnTo>
                    <a:pt x="469" y="924306"/>
                  </a:lnTo>
                  <a:lnTo>
                    <a:pt x="520" y="996594"/>
                  </a:lnTo>
                  <a:lnTo>
                    <a:pt x="73304" y="989736"/>
                  </a:lnTo>
                  <a:close/>
                </a:path>
                <a:path w="346075" h="1572895">
                  <a:moveTo>
                    <a:pt x="73380" y="1134706"/>
                  </a:moveTo>
                  <a:lnTo>
                    <a:pt x="73355" y="1062037"/>
                  </a:lnTo>
                  <a:lnTo>
                    <a:pt x="558" y="1068489"/>
                  </a:lnTo>
                  <a:lnTo>
                    <a:pt x="596" y="1140764"/>
                  </a:lnTo>
                  <a:lnTo>
                    <a:pt x="73380" y="1134706"/>
                  </a:lnTo>
                  <a:close/>
                </a:path>
                <a:path w="346075" h="1572895">
                  <a:moveTo>
                    <a:pt x="73444" y="1279626"/>
                  </a:moveTo>
                  <a:lnTo>
                    <a:pt x="73418" y="1207008"/>
                  </a:lnTo>
                  <a:lnTo>
                    <a:pt x="635" y="1212659"/>
                  </a:lnTo>
                  <a:lnTo>
                    <a:pt x="685" y="1284871"/>
                  </a:lnTo>
                  <a:lnTo>
                    <a:pt x="73444" y="1279626"/>
                  </a:lnTo>
                  <a:close/>
                </a:path>
                <a:path w="346075" h="1572895">
                  <a:moveTo>
                    <a:pt x="73507" y="1424470"/>
                  </a:moveTo>
                  <a:lnTo>
                    <a:pt x="73469" y="1351902"/>
                  </a:lnTo>
                  <a:lnTo>
                    <a:pt x="723" y="1356728"/>
                  </a:lnTo>
                  <a:lnTo>
                    <a:pt x="762" y="1428902"/>
                  </a:lnTo>
                  <a:lnTo>
                    <a:pt x="73507" y="1424470"/>
                  </a:lnTo>
                  <a:close/>
                </a:path>
                <a:path w="346075" h="1572895">
                  <a:moveTo>
                    <a:pt x="73571" y="1569262"/>
                  </a:moveTo>
                  <a:lnTo>
                    <a:pt x="73545" y="1496707"/>
                  </a:lnTo>
                  <a:lnTo>
                    <a:pt x="787" y="1500720"/>
                  </a:lnTo>
                  <a:lnTo>
                    <a:pt x="838" y="1572882"/>
                  </a:lnTo>
                  <a:lnTo>
                    <a:pt x="73571" y="1569262"/>
                  </a:lnTo>
                  <a:close/>
                </a:path>
                <a:path w="346075" h="1572895">
                  <a:moveTo>
                    <a:pt x="208076" y="96634"/>
                  </a:moveTo>
                  <a:lnTo>
                    <a:pt x="208051" y="22999"/>
                  </a:lnTo>
                  <a:lnTo>
                    <a:pt x="133642" y="35407"/>
                  </a:lnTo>
                  <a:lnTo>
                    <a:pt x="133667" y="108635"/>
                  </a:lnTo>
                  <a:lnTo>
                    <a:pt x="208076" y="96634"/>
                  </a:lnTo>
                  <a:close/>
                </a:path>
                <a:path w="346075" h="1572895">
                  <a:moveTo>
                    <a:pt x="208089" y="169938"/>
                  </a:moveTo>
                  <a:lnTo>
                    <a:pt x="133692" y="181533"/>
                  </a:lnTo>
                  <a:lnTo>
                    <a:pt x="133705" y="254723"/>
                  </a:lnTo>
                  <a:lnTo>
                    <a:pt x="208089" y="243560"/>
                  </a:lnTo>
                  <a:lnTo>
                    <a:pt x="208089" y="169938"/>
                  </a:lnTo>
                  <a:close/>
                </a:path>
                <a:path w="346075" h="1572895">
                  <a:moveTo>
                    <a:pt x="208153" y="390347"/>
                  </a:moveTo>
                  <a:lnTo>
                    <a:pt x="208127" y="316763"/>
                  </a:lnTo>
                  <a:lnTo>
                    <a:pt x="133743" y="327507"/>
                  </a:lnTo>
                  <a:lnTo>
                    <a:pt x="133769" y="400672"/>
                  </a:lnTo>
                  <a:lnTo>
                    <a:pt x="208153" y="390347"/>
                  </a:lnTo>
                  <a:close/>
                </a:path>
                <a:path w="346075" h="1572895">
                  <a:moveTo>
                    <a:pt x="208178" y="537121"/>
                  </a:moveTo>
                  <a:lnTo>
                    <a:pt x="208165" y="463575"/>
                  </a:lnTo>
                  <a:lnTo>
                    <a:pt x="133781" y="473481"/>
                  </a:lnTo>
                  <a:lnTo>
                    <a:pt x="133819" y="546608"/>
                  </a:lnTo>
                  <a:lnTo>
                    <a:pt x="208178" y="537121"/>
                  </a:lnTo>
                  <a:close/>
                </a:path>
                <a:path w="346075" h="1572895">
                  <a:moveTo>
                    <a:pt x="208229" y="683831"/>
                  </a:moveTo>
                  <a:lnTo>
                    <a:pt x="208203" y="610311"/>
                  </a:lnTo>
                  <a:lnTo>
                    <a:pt x="133845" y="619379"/>
                  </a:lnTo>
                  <a:lnTo>
                    <a:pt x="133870" y="692505"/>
                  </a:lnTo>
                  <a:lnTo>
                    <a:pt x="208229" y="683831"/>
                  </a:lnTo>
                  <a:close/>
                </a:path>
                <a:path w="346075" h="1572895">
                  <a:moveTo>
                    <a:pt x="208267" y="903566"/>
                  </a:moveTo>
                  <a:lnTo>
                    <a:pt x="133959" y="910983"/>
                  </a:lnTo>
                  <a:lnTo>
                    <a:pt x="133959" y="984034"/>
                  </a:lnTo>
                  <a:lnTo>
                    <a:pt x="208267" y="977023"/>
                  </a:lnTo>
                  <a:lnTo>
                    <a:pt x="208267" y="903566"/>
                  </a:lnTo>
                  <a:close/>
                </a:path>
                <a:path w="346075" h="1572895">
                  <a:moveTo>
                    <a:pt x="208267" y="830453"/>
                  </a:moveTo>
                  <a:lnTo>
                    <a:pt x="208229" y="756983"/>
                  </a:lnTo>
                  <a:lnTo>
                    <a:pt x="133896" y="765213"/>
                  </a:lnTo>
                  <a:lnTo>
                    <a:pt x="133934" y="838276"/>
                  </a:lnTo>
                  <a:lnTo>
                    <a:pt x="208267" y="830453"/>
                  </a:lnTo>
                  <a:close/>
                </a:path>
                <a:path w="346075" h="1572895">
                  <a:moveTo>
                    <a:pt x="208318" y="1123505"/>
                  </a:moveTo>
                  <a:lnTo>
                    <a:pt x="208280" y="1050074"/>
                  </a:lnTo>
                  <a:lnTo>
                    <a:pt x="133997" y="1056652"/>
                  </a:lnTo>
                  <a:lnTo>
                    <a:pt x="134035" y="1129677"/>
                  </a:lnTo>
                  <a:lnTo>
                    <a:pt x="208318" y="1123505"/>
                  </a:lnTo>
                  <a:close/>
                </a:path>
                <a:path w="346075" h="1572895">
                  <a:moveTo>
                    <a:pt x="208343" y="1269898"/>
                  </a:moveTo>
                  <a:lnTo>
                    <a:pt x="208318" y="1196543"/>
                  </a:lnTo>
                  <a:lnTo>
                    <a:pt x="134048" y="1202296"/>
                  </a:lnTo>
                  <a:lnTo>
                    <a:pt x="134073" y="1275257"/>
                  </a:lnTo>
                  <a:lnTo>
                    <a:pt x="208343" y="1269898"/>
                  </a:lnTo>
                  <a:close/>
                </a:path>
                <a:path w="346075" h="1572895">
                  <a:moveTo>
                    <a:pt x="208381" y="1416265"/>
                  </a:moveTo>
                  <a:lnTo>
                    <a:pt x="208356" y="1342923"/>
                  </a:lnTo>
                  <a:lnTo>
                    <a:pt x="134112" y="1347863"/>
                  </a:lnTo>
                  <a:lnTo>
                    <a:pt x="134112" y="1420787"/>
                  </a:lnTo>
                  <a:lnTo>
                    <a:pt x="208381" y="1416265"/>
                  </a:lnTo>
                  <a:close/>
                </a:path>
                <a:path w="346075" h="1572895">
                  <a:moveTo>
                    <a:pt x="208407" y="1489240"/>
                  </a:moveTo>
                  <a:lnTo>
                    <a:pt x="134137" y="1493342"/>
                  </a:lnTo>
                  <a:lnTo>
                    <a:pt x="134175" y="1566227"/>
                  </a:lnTo>
                  <a:lnTo>
                    <a:pt x="208407" y="1562531"/>
                  </a:lnTo>
                  <a:lnTo>
                    <a:pt x="208407" y="1489240"/>
                  </a:lnTo>
                  <a:close/>
                </a:path>
                <a:path w="346075" h="1572895">
                  <a:moveTo>
                    <a:pt x="346062" y="1481607"/>
                  </a:moveTo>
                  <a:lnTo>
                    <a:pt x="270268" y="1485798"/>
                  </a:lnTo>
                  <a:lnTo>
                    <a:pt x="270281" y="1559458"/>
                  </a:lnTo>
                  <a:lnTo>
                    <a:pt x="346062" y="1555699"/>
                  </a:lnTo>
                  <a:lnTo>
                    <a:pt x="346062" y="1481607"/>
                  </a:lnTo>
                  <a:close/>
                </a:path>
                <a:path w="346075" h="1572895">
                  <a:moveTo>
                    <a:pt x="346062" y="1333766"/>
                  </a:moveTo>
                  <a:lnTo>
                    <a:pt x="270243" y="1338808"/>
                  </a:lnTo>
                  <a:lnTo>
                    <a:pt x="270256" y="1412494"/>
                  </a:lnTo>
                  <a:lnTo>
                    <a:pt x="346062" y="1407909"/>
                  </a:lnTo>
                  <a:lnTo>
                    <a:pt x="346062" y="1333766"/>
                  </a:lnTo>
                  <a:close/>
                </a:path>
                <a:path w="346075" h="1572895">
                  <a:moveTo>
                    <a:pt x="346062" y="1185862"/>
                  </a:moveTo>
                  <a:lnTo>
                    <a:pt x="270217" y="1191755"/>
                  </a:lnTo>
                  <a:lnTo>
                    <a:pt x="270230" y="1265466"/>
                  </a:lnTo>
                  <a:lnTo>
                    <a:pt x="346062" y="1260005"/>
                  </a:lnTo>
                  <a:lnTo>
                    <a:pt x="346062" y="1185862"/>
                  </a:lnTo>
                  <a:close/>
                </a:path>
                <a:path w="346075" h="1572895">
                  <a:moveTo>
                    <a:pt x="346062" y="1037856"/>
                  </a:moveTo>
                  <a:lnTo>
                    <a:pt x="270205" y="1044587"/>
                  </a:lnTo>
                  <a:lnTo>
                    <a:pt x="270217" y="1118362"/>
                  </a:lnTo>
                  <a:lnTo>
                    <a:pt x="346062" y="1112050"/>
                  </a:lnTo>
                  <a:lnTo>
                    <a:pt x="346062" y="1037856"/>
                  </a:lnTo>
                  <a:close/>
                </a:path>
                <a:path w="346075" h="1572895">
                  <a:moveTo>
                    <a:pt x="346062" y="889825"/>
                  </a:moveTo>
                  <a:lnTo>
                    <a:pt x="270192" y="897382"/>
                  </a:lnTo>
                  <a:lnTo>
                    <a:pt x="270192" y="971181"/>
                  </a:lnTo>
                  <a:lnTo>
                    <a:pt x="346062" y="964031"/>
                  </a:lnTo>
                  <a:lnTo>
                    <a:pt x="346062" y="889825"/>
                  </a:lnTo>
                  <a:close/>
                </a:path>
                <a:path w="346075" h="1572895">
                  <a:moveTo>
                    <a:pt x="346062" y="741692"/>
                  </a:moveTo>
                  <a:lnTo>
                    <a:pt x="270167" y="750100"/>
                  </a:lnTo>
                  <a:lnTo>
                    <a:pt x="270192" y="823912"/>
                  </a:lnTo>
                  <a:lnTo>
                    <a:pt x="346062" y="815924"/>
                  </a:lnTo>
                  <a:lnTo>
                    <a:pt x="346062" y="741692"/>
                  </a:lnTo>
                  <a:close/>
                </a:path>
                <a:path w="346075" h="1572895">
                  <a:moveTo>
                    <a:pt x="346062" y="593483"/>
                  </a:moveTo>
                  <a:lnTo>
                    <a:pt x="270154" y="602742"/>
                  </a:lnTo>
                  <a:lnTo>
                    <a:pt x="270167" y="676592"/>
                  </a:lnTo>
                  <a:lnTo>
                    <a:pt x="346062" y="667753"/>
                  </a:lnTo>
                  <a:lnTo>
                    <a:pt x="346062" y="593483"/>
                  </a:lnTo>
                  <a:close/>
                </a:path>
                <a:path w="346075" h="1572895">
                  <a:moveTo>
                    <a:pt x="346062" y="445198"/>
                  </a:moveTo>
                  <a:lnTo>
                    <a:pt x="270129" y="455320"/>
                  </a:lnTo>
                  <a:lnTo>
                    <a:pt x="270154" y="529209"/>
                  </a:lnTo>
                  <a:lnTo>
                    <a:pt x="346062" y="519518"/>
                  </a:lnTo>
                  <a:lnTo>
                    <a:pt x="346062" y="445198"/>
                  </a:lnTo>
                  <a:close/>
                </a:path>
                <a:path w="346075" h="1572895">
                  <a:moveTo>
                    <a:pt x="346062" y="296862"/>
                  </a:moveTo>
                  <a:lnTo>
                    <a:pt x="270129" y="307809"/>
                  </a:lnTo>
                  <a:lnTo>
                    <a:pt x="270129" y="381736"/>
                  </a:lnTo>
                  <a:lnTo>
                    <a:pt x="346062" y="371221"/>
                  </a:lnTo>
                  <a:lnTo>
                    <a:pt x="346062" y="296862"/>
                  </a:lnTo>
                  <a:close/>
                </a:path>
                <a:path w="346075" h="1572895">
                  <a:moveTo>
                    <a:pt x="346062" y="148488"/>
                  </a:moveTo>
                  <a:lnTo>
                    <a:pt x="270103" y="160312"/>
                  </a:lnTo>
                  <a:lnTo>
                    <a:pt x="270116" y="234264"/>
                  </a:lnTo>
                  <a:lnTo>
                    <a:pt x="346062" y="222846"/>
                  </a:lnTo>
                  <a:lnTo>
                    <a:pt x="346062" y="148488"/>
                  </a:lnTo>
                  <a:close/>
                </a:path>
                <a:path w="346075" h="1572895">
                  <a:moveTo>
                    <a:pt x="346062" y="0"/>
                  </a:moveTo>
                  <a:lnTo>
                    <a:pt x="270078" y="12649"/>
                  </a:lnTo>
                  <a:lnTo>
                    <a:pt x="270090" y="86664"/>
                  </a:lnTo>
                  <a:lnTo>
                    <a:pt x="346062" y="74422"/>
                  </a:lnTo>
                  <a:lnTo>
                    <a:pt x="346062" y="0"/>
                  </a:lnTo>
                  <a:close/>
                </a:path>
              </a:pathLst>
            </a:custGeom>
            <a:solidFill>
              <a:srgbClr val="40404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3" name="object 239">
              <a:extLst>
                <a:ext uri="{FF2B5EF4-FFF2-40B4-BE49-F238E27FC236}">
                  <a16:creationId xmlns:a16="http://schemas.microsoft.com/office/drawing/2014/main" id="{FEB76CA3-753A-4AA9-A0E5-6D1B7D3CBF50}"/>
                </a:ext>
              </a:extLst>
            </p:cNvPr>
            <p:cNvSpPr/>
            <p:nvPr/>
          </p:nvSpPr>
          <p:spPr>
            <a:xfrm>
              <a:off x="10591727" y="7082056"/>
              <a:ext cx="648335" cy="2368550"/>
            </a:xfrm>
            <a:custGeom>
              <a:avLst/>
              <a:gdLst/>
              <a:ahLst/>
              <a:cxnLst/>
              <a:rect l="l" t="t" r="r" b="b"/>
              <a:pathLst>
                <a:path w="648334" h="2368550">
                  <a:moveTo>
                    <a:pt x="648074" y="0"/>
                  </a:moveTo>
                  <a:lnTo>
                    <a:pt x="0" y="120394"/>
                  </a:lnTo>
                  <a:lnTo>
                    <a:pt x="0" y="2368168"/>
                  </a:lnTo>
                  <a:lnTo>
                    <a:pt x="648074" y="0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4" name="object 240">
              <a:extLst>
                <a:ext uri="{FF2B5EF4-FFF2-40B4-BE49-F238E27FC236}">
                  <a16:creationId xmlns:a16="http://schemas.microsoft.com/office/drawing/2014/main" id="{ABA7E391-82A4-4EDD-B40B-1A97369368E0}"/>
                </a:ext>
              </a:extLst>
            </p:cNvPr>
            <p:cNvSpPr/>
            <p:nvPr/>
          </p:nvSpPr>
          <p:spPr>
            <a:xfrm>
              <a:off x="7362359" y="7407489"/>
              <a:ext cx="1299210" cy="1744980"/>
            </a:xfrm>
            <a:custGeom>
              <a:avLst/>
              <a:gdLst/>
              <a:ahLst/>
              <a:cxnLst/>
              <a:rect l="l" t="t" r="r" b="b"/>
              <a:pathLst>
                <a:path w="1299209" h="1744979">
                  <a:moveTo>
                    <a:pt x="712114" y="0"/>
                  </a:moveTo>
                  <a:lnTo>
                    <a:pt x="0" y="121263"/>
                  </a:lnTo>
                  <a:lnTo>
                    <a:pt x="0" y="1744962"/>
                  </a:lnTo>
                  <a:lnTo>
                    <a:pt x="1299007" y="1744962"/>
                  </a:lnTo>
                  <a:lnTo>
                    <a:pt x="1299007" y="145618"/>
                  </a:lnTo>
                  <a:lnTo>
                    <a:pt x="712114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5" name="object 241">
              <a:extLst>
                <a:ext uri="{FF2B5EF4-FFF2-40B4-BE49-F238E27FC236}">
                  <a16:creationId xmlns:a16="http://schemas.microsoft.com/office/drawing/2014/main" id="{0B5D3C76-F1B0-49DA-B9DC-808764ADF15C}"/>
                </a:ext>
              </a:extLst>
            </p:cNvPr>
            <p:cNvSpPr/>
            <p:nvPr/>
          </p:nvSpPr>
          <p:spPr>
            <a:xfrm>
              <a:off x="8049695" y="7407495"/>
              <a:ext cx="50165" cy="1744980"/>
            </a:xfrm>
            <a:custGeom>
              <a:avLst/>
              <a:gdLst/>
              <a:ahLst/>
              <a:cxnLst/>
              <a:rect l="l" t="t" r="r" b="b"/>
              <a:pathLst>
                <a:path w="50165" h="1744979">
                  <a:moveTo>
                    <a:pt x="24774" y="0"/>
                  </a:moveTo>
                  <a:lnTo>
                    <a:pt x="0" y="4596"/>
                  </a:lnTo>
                  <a:lnTo>
                    <a:pt x="0" y="1744952"/>
                  </a:lnTo>
                  <a:lnTo>
                    <a:pt x="49590" y="1744952"/>
                  </a:lnTo>
                  <a:lnTo>
                    <a:pt x="49590" y="3811"/>
                  </a:lnTo>
                  <a:lnTo>
                    <a:pt x="24774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6" name="object 242">
              <a:extLst>
                <a:ext uri="{FF2B5EF4-FFF2-40B4-BE49-F238E27FC236}">
                  <a16:creationId xmlns:a16="http://schemas.microsoft.com/office/drawing/2014/main" id="{E314F8AF-ED57-404B-A2AF-8E7FF7066A64}"/>
                </a:ext>
              </a:extLst>
            </p:cNvPr>
            <p:cNvSpPr/>
            <p:nvPr/>
          </p:nvSpPr>
          <p:spPr>
            <a:xfrm>
              <a:off x="8074473" y="7407498"/>
              <a:ext cx="587375" cy="1744980"/>
            </a:xfrm>
            <a:custGeom>
              <a:avLst/>
              <a:gdLst/>
              <a:ahLst/>
              <a:cxnLst/>
              <a:rect l="l" t="t" r="r" b="b"/>
              <a:pathLst>
                <a:path w="587375" h="1744979">
                  <a:moveTo>
                    <a:pt x="0" y="0"/>
                  </a:moveTo>
                  <a:lnTo>
                    <a:pt x="0" y="1744941"/>
                  </a:lnTo>
                  <a:lnTo>
                    <a:pt x="586893" y="1744941"/>
                  </a:lnTo>
                  <a:lnTo>
                    <a:pt x="586893" y="1456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7" name="object 243">
              <a:extLst>
                <a:ext uri="{FF2B5EF4-FFF2-40B4-BE49-F238E27FC236}">
                  <a16:creationId xmlns:a16="http://schemas.microsoft.com/office/drawing/2014/main" id="{4866A126-6F58-4682-A180-B5CCAF6EFD3F}"/>
                </a:ext>
              </a:extLst>
            </p:cNvPr>
            <p:cNvSpPr/>
            <p:nvPr/>
          </p:nvSpPr>
          <p:spPr>
            <a:xfrm>
              <a:off x="7295446" y="7460068"/>
              <a:ext cx="1433195" cy="1998345"/>
            </a:xfrm>
            <a:custGeom>
              <a:avLst/>
              <a:gdLst/>
              <a:ahLst/>
              <a:cxnLst/>
              <a:rect l="l" t="t" r="r" b="b"/>
              <a:pathLst>
                <a:path w="1433195" h="1998345">
                  <a:moveTo>
                    <a:pt x="781306" y="0"/>
                  </a:moveTo>
                  <a:lnTo>
                    <a:pt x="0" y="129535"/>
                  </a:lnTo>
                  <a:lnTo>
                    <a:pt x="0" y="1997803"/>
                  </a:lnTo>
                  <a:lnTo>
                    <a:pt x="1432825" y="1997803"/>
                  </a:lnTo>
                  <a:lnTo>
                    <a:pt x="1432825" y="156550"/>
                  </a:lnTo>
                  <a:lnTo>
                    <a:pt x="781306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8" name="object 244">
              <a:extLst>
                <a:ext uri="{FF2B5EF4-FFF2-40B4-BE49-F238E27FC236}">
                  <a16:creationId xmlns:a16="http://schemas.microsoft.com/office/drawing/2014/main" id="{74C27067-1751-4A86-8942-C9133DC5DF67}"/>
                </a:ext>
              </a:extLst>
            </p:cNvPr>
            <p:cNvSpPr/>
            <p:nvPr/>
          </p:nvSpPr>
          <p:spPr>
            <a:xfrm>
              <a:off x="8049234" y="7460075"/>
              <a:ext cx="55244" cy="1998345"/>
            </a:xfrm>
            <a:custGeom>
              <a:avLst/>
              <a:gdLst/>
              <a:ahLst/>
              <a:cxnLst/>
              <a:rect l="l" t="t" r="r" b="b"/>
              <a:pathLst>
                <a:path w="55245" h="1998345">
                  <a:moveTo>
                    <a:pt x="27517" y="0"/>
                  </a:moveTo>
                  <a:lnTo>
                    <a:pt x="0" y="5099"/>
                  </a:lnTo>
                  <a:lnTo>
                    <a:pt x="0" y="1997792"/>
                  </a:lnTo>
                  <a:lnTo>
                    <a:pt x="55055" y="1997792"/>
                  </a:lnTo>
                  <a:lnTo>
                    <a:pt x="55055" y="4219"/>
                  </a:lnTo>
                  <a:lnTo>
                    <a:pt x="27517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9" name="object 245">
              <a:extLst>
                <a:ext uri="{FF2B5EF4-FFF2-40B4-BE49-F238E27FC236}">
                  <a16:creationId xmlns:a16="http://schemas.microsoft.com/office/drawing/2014/main" id="{8E7D3FBA-130D-4FFB-9049-8904B5570FD6}"/>
                </a:ext>
              </a:extLst>
            </p:cNvPr>
            <p:cNvSpPr/>
            <p:nvPr/>
          </p:nvSpPr>
          <p:spPr>
            <a:xfrm>
              <a:off x="8076748" y="7460074"/>
              <a:ext cx="652145" cy="1998345"/>
            </a:xfrm>
            <a:custGeom>
              <a:avLst/>
              <a:gdLst/>
              <a:ahLst/>
              <a:cxnLst/>
              <a:rect l="l" t="t" r="r" b="b"/>
              <a:pathLst>
                <a:path w="652145" h="1998345">
                  <a:moveTo>
                    <a:pt x="0" y="0"/>
                  </a:moveTo>
                  <a:lnTo>
                    <a:pt x="0" y="1997792"/>
                  </a:lnTo>
                  <a:lnTo>
                    <a:pt x="651529" y="1997792"/>
                  </a:lnTo>
                  <a:lnTo>
                    <a:pt x="651529" y="1565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object 246">
              <a:extLst>
                <a:ext uri="{FF2B5EF4-FFF2-40B4-BE49-F238E27FC236}">
                  <a16:creationId xmlns:a16="http://schemas.microsoft.com/office/drawing/2014/main" id="{D97A3997-1001-4A00-B145-FE860CE24660}"/>
                </a:ext>
              </a:extLst>
            </p:cNvPr>
            <p:cNvSpPr/>
            <p:nvPr/>
          </p:nvSpPr>
          <p:spPr>
            <a:xfrm>
              <a:off x="8076748" y="7616614"/>
              <a:ext cx="652145" cy="1841500"/>
            </a:xfrm>
            <a:custGeom>
              <a:avLst/>
              <a:gdLst/>
              <a:ahLst/>
              <a:cxnLst/>
              <a:rect l="l" t="t" r="r" b="b"/>
              <a:pathLst>
                <a:path w="652145" h="1841500">
                  <a:moveTo>
                    <a:pt x="651529" y="0"/>
                  </a:moveTo>
                  <a:lnTo>
                    <a:pt x="0" y="1841252"/>
                  </a:lnTo>
                  <a:lnTo>
                    <a:pt x="651529" y="1841252"/>
                  </a:lnTo>
                  <a:lnTo>
                    <a:pt x="651529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object 247">
              <a:extLst>
                <a:ext uri="{FF2B5EF4-FFF2-40B4-BE49-F238E27FC236}">
                  <a16:creationId xmlns:a16="http://schemas.microsoft.com/office/drawing/2014/main" id="{58F05B79-D6D0-4172-B462-269C6FFE353B}"/>
                </a:ext>
              </a:extLst>
            </p:cNvPr>
            <p:cNvSpPr/>
            <p:nvPr/>
          </p:nvSpPr>
          <p:spPr>
            <a:xfrm>
              <a:off x="7348236" y="9457869"/>
              <a:ext cx="1313180" cy="43180"/>
            </a:xfrm>
            <a:custGeom>
              <a:avLst/>
              <a:gdLst/>
              <a:ahLst/>
              <a:cxnLst/>
              <a:rect l="l" t="t" r="r" b="b"/>
              <a:pathLst>
                <a:path w="1313179" h="43179">
                  <a:moveTo>
                    <a:pt x="1313132" y="0"/>
                  </a:moveTo>
                  <a:lnTo>
                    <a:pt x="0" y="0"/>
                  </a:lnTo>
                  <a:lnTo>
                    <a:pt x="0" y="42951"/>
                  </a:lnTo>
                  <a:lnTo>
                    <a:pt x="1313132" y="42951"/>
                  </a:lnTo>
                  <a:lnTo>
                    <a:pt x="1313132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object 248">
              <a:extLst>
                <a:ext uri="{FF2B5EF4-FFF2-40B4-BE49-F238E27FC236}">
                  <a16:creationId xmlns:a16="http://schemas.microsoft.com/office/drawing/2014/main" id="{589A74DD-D04D-4DD2-AF4C-933DC7A4CE0B}"/>
                </a:ext>
              </a:extLst>
            </p:cNvPr>
            <p:cNvSpPr/>
            <p:nvPr/>
          </p:nvSpPr>
          <p:spPr>
            <a:xfrm>
              <a:off x="7389133" y="7609416"/>
              <a:ext cx="589915" cy="1713864"/>
            </a:xfrm>
            <a:custGeom>
              <a:avLst/>
              <a:gdLst/>
              <a:ahLst/>
              <a:cxnLst/>
              <a:rect l="l" t="t" r="r" b="b"/>
              <a:pathLst>
                <a:path w="589915" h="1713865">
                  <a:moveTo>
                    <a:pt x="589856" y="0"/>
                  </a:moveTo>
                  <a:lnTo>
                    <a:pt x="0" y="90615"/>
                  </a:lnTo>
                  <a:lnTo>
                    <a:pt x="0" y="1713403"/>
                  </a:lnTo>
                  <a:lnTo>
                    <a:pt x="589856" y="1703225"/>
                  </a:lnTo>
                  <a:lnTo>
                    <a:pt x="589856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object 249">
              <a:extLst>
                <a:ext uri="{FF2B5EF4-FFF2-40B4-BE49-F238E27FC236}">
                  <a16:creationId xmlns:a16="http://schemas.microsoft.com/office/drawing/2014/main" id="{04420E8E-F9F8-4369-9697-C284EC53085A}"/>
                </a:ext>
              </a:extLst>
            </p:cNvPr>
            <p:cNvSpPr/>
            <p:nvPr/>
          </p:nvSpPr>
          <p:spPr>
            <a:xfrm>
              <a:off x="7389128" y="8349199"/>
              <a:ext cx="114300" cy="331470"/>
            </a:xfrm>
            <a:custGeom>
              <a:avLst/>
              <a:gdLst/>
              <a:ahLst/>
              <a:cxnLst/>
              <a:rect l="l" t="t" r="r" b="b"/>
              <a:pathLst>
                <a:path w="114300" h="331470">
                  <a:moveTo>
                    <a:pt x="114048" y="0"/>
                  </a:moveTo>
                  <a:lnTo>
                    <a:pt x="0" y="17538"/>
                  </a:lnTo>
                  <a:lnTo>
                    <a:pt x="0" y="331309"/>
                  </a:lnTo>
                  <a:lnTo>
                    <a:pt x="114048" y="322712"/>
                  </a:lnTo>
                  <a:lnTo>
                    <a:pt x="114048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object 250">
              <a:extLst>
                <a:ext uri="{FF2B5EF4-FFF2-40B4-BE49-F238E27FC236}">
                  <a16:creationId xmlns:a16="http://schemas.microsoft.com/office/drawing/2014/main" id="{8CBC4601-041C-4DD3-A7C2-0091397AFC50}"/>
                </a:ext>
              </a:extLst>
            </p:cNvPr>
            <p:cNvSpPr/>
            <p:nvPr/>
          </p:nvSpPr>
          <p:spPr>
            <a:xfrm>
              <a:off x="7560209" y="7157967"/>
              <a:ext cx="1837689" cy="2025650"/>
            </a:xfrm>
            <a:custGeom>
              <a:avLst/>
              <a:gdLst/>
              <a:ahLst/>
              <a:cxnLst/>
              <a:rect l="l" t="t" r="r" b="b"/>
              <a:pathLst>
                <a:path w="1837690" h="2025650">
                  <a:moveTo>
                    <a:pt x="208902" y="884732"/>
                  </a:moveTo>
                  <a:lnTo>
                    <a:pt x="104457" y="900201"/>
                  </a:lnTo>
                  <a:lnTo>
                    <a:pt x="135953" y="639470"/>
                  </a:lnTo>
                  <a:lnTo>
                    <a:pt x="0" y="978255"/>
                  </a:lnTo>
                  <a:lnTo>
                    <a:pt x="104165" y="964742"/>
                  </a:lnTo>
                  <a:lnTo>
                    <a:pt x="86639" y="1249692"/>
                  </a:lnTo>
                  <a:lnTo>
                    <a:pt x="208902" y="884732"/>
                  </a:lnTo>
                  <a:close/>
                </a:path>
                <a:path w="1837690" h="2025650">
                  <a:moveTo>
                    <a:pt x="1837067" y="128524"/>
                  </a:moveTo>
                  <a:lnTo>
                    <a:pt x="1319187" y="0"/>
                  </a:lnTo>
                  <a:lnTo>
                    <a:pt x="764946" y="107010"/>
                  </a:lnTo>
                  <a:lnTo>
                    <a:pt x="764946" y="2025307"/>
                  </a:lnTo>
                  <a:lnTo>
                    <a:pt x="1837067" y="2025307"/>
                  </a:lnTo>
                  <a:lnTo>
                    <a:pt x="1837067" y="128524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object 251">
              <a:extLst>
                <a:ext uri="{FF2B5EF4-FFF2-40B4-BE49-F238E27FC236}">
                  <a16:creationId xmlns:a16="http://schemas.microsoft.com/office/drawing/2014/main" id="{D94E8E1B-FCDD-4566-BC60-A033CB9251C8}"/>
                </a:ext>
              </a:extLst>
            </p:cNvPr>
            <p:cNvSpPr/>
            <p:nvPr/>
          </p:nvSpPr>
          <p:spPr>
            <a:xfrm>
              <a:off x="8857546" y="7157963"/>
              <a:ext cx="43815" cy="2025650"/>
            </a:xfrm>
            <a:custGeom>
              <a:avLst/>
              <a:gdLst/>
              <a:ahLst/>
              <a:cxnLst/>
              <a:rect l="l" t="t" r="r" b="b"/>
              <a:pathLst>
                <a:path w="43815" h="2025650">
                  <a:moveTo>
                    <a:pt x="21852" y="0"/>
                  </a:moveTo>
                  <a:lnTo>
                    <a:pt x="0" y="4073"/>
                  </a:lnTo>
                  <a:lnTo>
                    <a:pt x="0" y="2025299"/>
                  </a:lnTo>
                  <a:lnTo>
                    <a:pt x="43747" y="2025299"/>
                  </a:lnTo>
                  <a:lnTo>
                    <a:pt x="43747" y="3371"/>
                  </a:lnTo>
                  <a:lnTo>
                    <a:pt x="21852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object 252">
              <a:extLst>
                <a:ext uri="{FF2B5EF4-FFF2-40B4-BE49-F238E27FC236}">
                  <a16:creationId xmlns:a16="http://schemas.microsoft.com/office/drawing/2014/main" id="{3BFA3F73-1FEB-4C83-8B5A-A59BEBD6CCB3}"/>
                </a:ext>
              </a:extLst>
            </p:cNvPr>
            <p:cNvSpPr/>
            <p:nvPr/>
          </p:nvSpPr>
          <p:spPr>
            <a:xfrm>
              <a:off x="8879394" y="7157968"/>
              <a:ext cx="518159" cy="2025650"/>
            </a:xfrm>
            <a:custGeom>
              <a:avLst/>
              <a:gdLst/>
              <a:ahLst/>
              <a:cxnLst/>
              <a:rect l="l" t="t" r="r" b="b"/>
              <a:pathLst>
                <a:path w="518159" h="2025650">
                  <a:moveTo>
                    <a:pt x="0" y="0"/>
                  </a:moveTo>
                  <a:lnTo>
                    <a:pt x="0" y="2025299"/>
                  </a:lnTo>
                  <a:lnTo>
                    <a:pt x="517889" y="2025299"/>
                  </a:lnTo>
                  <a:lnTo>
                    <a:pt x="517889" y="128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object 253">
              <a:extLst>
                <a:ext uri="{FF2B5EF4-FFF2-40B4-BE49-F238E27FC236}">
                  <a16:creationId xmlns:a16="http://schemas.microsoft.com/office/drawing/2014/main" id="{2E7FFEA4-A05B-48C0-9CC4-1CFFF6256092}"/>
                </a:ext>
              </a:extLst>
            </p:cNvPr>
            <p:cNvSpPr/>
            <p:nvPr/>
          </p:nvSpPr>
          <p:spPr>
            <a:xfrm>
              <a:off x="8266105" y="7204370"/>
              <a:ext cx="1190625" cy="2248535"/>
            </a:xfrm>
            <a:custGeom>
              <a:avLst/>
              <a:gdLst/>
              <a:ahLst/>
              <a:cxnLst/>
              <a:rect l="l" t="t" r="r" b="b"/>
              <a:pathLst>
                <a:path w="1190625" h="2248534">
                  <a:moveTo>
                    <a:pt x="615300" y="0"/>
                  </a:moveTo>
                  <a:lnTo>
                    <a:pt x="0" y="114300"/>
                  </a:lnTo>
                  <a:lnTo>
                    <a:pt x="0" y="2248413"/>
                  </a:lnTo>
                  <a:lnTo>
                    <a:pt x="1190236" y="2248413"/>
                  </a:lnTo>
                  <a:lnTo>
                    <a:pt x="1190236" y="138142"/>
                  </a:lnTo>
                  <a:lnTo>
                    <a:pt x="615300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object 254">
              <a:extLst>
                <a:ext uri="{FF2B5EF4-FFF2-40B4-BE49-F238E27FC236}">
                  <a16:creationId xmlns:a16="http://schemas.microsoft.com/office/drawing/2014/main" id="{82D73B95-7CEA-4FB3-8E8C-8F5A753A5FEE}"/>
                </a:ext>
              </a:extLst>
            </p:cNvPr>
            <p:cNvSpPr/>
            <p:nvPr/>
          </p:nvSpPr>
          <p:spPr>
            <a:xfrm>
              <a:off x="8857116" y="7204367"/>
              <a:ext cx="48895" cy="2248535"/>
            </a:xfrm>
            <a:custGeom>
              <a:avLst/>
              <a:gdLst/>
              <a:ahLst/>
              <a:cxnLst/>
              <a:rect l="l" t="t" r="r" b="b"/>
              <a:pathLst>
                <a:path w="48895" h="2248534">
                  <a:moveTo>
                    <a:pt x="24281" y="0"/>
                  </a:moveTo>
                  <a:lnTo>
                    <a:pt x="0" y="4502"/>
                  </a:lnTo>
                  <a:lnTo>
                    <a:pt x="0" y="2248413"/>
                  </a:lnTo>
                  <a:lnTo>
                    <a:pt x="48605" y="2248413"/>
                  </a:lnTo>
                  <a:lnTo>
                    <a:pt x="48605" y="3727"/>
                  </a:lnTo>
                  <a:lnTo>
                    <a:pt x="24281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object 255">
              <a:extLst>
                <a:ext uri="{FF2B5EF4-FFF2-40B4-BE49-F238E27FC236}">
                  <a16:creationId xmlns:a16="http://schemas.microsoft.com/office/drawing/2014/main" id="{BB0034D0-2737-40B9-BAF4-97D5772AA796}"/>
                </a:ext>
              </a:extLst>
            </p:cNvPr>
            <p:cNvSpPr/>
            <p:nvPr/>
          </p:nvSpPr>
          <p:spPr>
            <a:xfrm>
              <a:off x="8881410" y="7204380"/>
              <a:ext cx="575310" cy="2248535"/>
            </a:xfrm>
            <a:custGeom>
              <a:avLst/>
              <a:gdLst/>
              <a:ahLst/>
              <a:cxnLst/>
              <a:rect l="l" t="t" r="r" b="b"/>
              <a:pathLst>
                <a:path w="575309" h="2248534">
                  <a:moveTo>
                    <a:pt x="0" y="0"/>
                  </a:moveTo>
                  <a:lnTo>
                    <a:pt x="0" y="2248392"/>
                  </a:lnTo>
                  <a:lnTo>
                    <a:pt x="574935" y="2248392"/>
                  </a:lnTo>
                  <a:lnTo>
                    <a:pt x="574935" y="1381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object 256">
              <a:extLst>
                <a:ext uri="{FF2B5EF4-FFF2-40B4-BE49-F238E27FC236}">
                  <a16:creationId xmlns:a16="http://schemas.microsoft.com/office/drawing/2014/main" id="{30650817-4533-4472-986C-7A8708D30A27}"/>
                </a:ext>
              </a:extLst>
            </p:cNvPr>
            <p:cNvSpPr/>
            <p:nvPr/>
          </p:nvSpPr>
          <p:spPr>
            <a:xfrm>
              <a:off x="8881410" y="7342512"/>
              <a:ext cx="575310" cy="2110740"/>
            </a:xfrm>
            <a:custGeom>
              <a:avLst/>
              <a:gdLst/>
              <a:ahLst/>
              <a:cxnLst/>
              <a:rect l="l" t="t" r="r" b="b"/>
              <a:pathLst>
                <a:path w="575309" h="2110740">
                  <a:moveTo>
                    <a:pt x="574935" y="0"/>
                  </a:moveTo>
                  <a:lnTo>
                    <a:pt x="0" y="2110260"/>
                  </a:lnTo>
                  <a:lnTo>
                    <a:pt x="574935" y="2110260"/>
                  </a:lnTo>
                  <a:lnTo>
                    <a:pt x="574935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object 257">
              <a:extLst>
                <a:ext uri="{FF2B5EF4-FFF2-40B4-BE49-F238E27FC236}">
                  <a16:creationId xmlns:a16="http://schemas.microsoft.com/office/drawing/2014/main" id="{FE8AD10D-958F-47C1-93D7-CCB1FCCDBFD9}"/>
                </a:ext>
              </a:extLst>
            </p:cNvPr>
            <p:cNvSpPr/>
            <p:nvPr/>
          </p:nvSpPr>
          <p:spPr>
            <a:xfrm>
              <a:off x="8325149" y="9452780"/>
              <a:ext cx="1072515" cy="48260"/>
            </a:xfrm>
            <a:custGeom>
              <a:avLst/>
              <a:gdLst/>
              <a:ahLst/>
              <a:cxnLst/>
              <a:rect l="l" t="t" r="r" b="b"/>
              <a:pathLst>
                <a:path w="1072515" h="48259">
                  <a:moveTo>
                    <a:pt x="1072124" y="0"/>
                  </a:moveTo>
                  <a:lnTo>
                    <a:pt x="0" y="0"/>
                  </a:lnTo>
                  <a:lnTo>
                    <a:pt x="0" y="48040"/>
                  </a:lnTo>
                  <a:lnTo>
                    <a:pt x="1072124" y="48040"/>
                  </a:lnTo>
                  <a:lnTo>
                    <a:pt x="1072124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object 258">
              <a:extLst>
                <a:ext uri="{FF2B5EF4-FFF2-40B4-BE49-F238E27FC236}">
                  <a16:creationId xmlns:a16="http://schemas.microsoft.com/office/drawing/2014/main" id="{56E45A57-8049-45FF-AFE4-23E8D2549FCC}"/>
                </a:ext>
              </a:extLst>
            </p:cNvPr>
            <p:cNvSpPr/>
            <p:nvPr/>
          </p:nvSpPr>
          <p:spPr>
            <a:xfrm>
              <a:off x="8348767" y="7575966"/>
              <a:ext cx="446405" cy="1640839"/>
            </a:xfrm>
            <a:custGeom>
              <a:avLst/>
              <a:gdLst/>
              <a:ahLst/>
              <a:cxnLst/>
              <a:rect l="l" t="t" r="r" b="b"/>
              <a:pathLst>
                <a:path w="446404" h="1640840">
                  <a:moveTo>
                    <a:pt x="446363" y="0"/>
                  </a:moveTo>
                  <a:lnTo>
                    <a:pt x="0" y="74133"/>
                  </a:lnTo>
                  <a:lnTo>
                    <a:pt x="0" y="1640672"/>
                  </a:lnTo>
                  <a:lnTo>
                    <a:pt x="446363" y="1625824"/>
                  </a:lnTo>
                  <a:lnTo>
                    <a:pt x="446363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object 259">
              <a:extLst>
                <a:ext uri="{FF2B5EF4-FFF2-40B4-BE49-F238E27FC236}">
                  <a16:creationId xmlns:a16="http://schemas.microsoft.com/office/drawing/2014/main" id="{F3CA8CAC-99E5-470E-85B1-79B0712F50AC}"/>
                </a:ext>
              </a:extLst>
            </p:cNvPr>
            <p:cNvSpPr/>
            <p:nvPr/>
          </p:nvSpPr>
          <p:spPr>
            <a:xfrm>
              <a:off x="8348767" y="7575966"/>
              <a:ext cx="446405" cy="100330"/>
            </a:xfrm>
            <a:custGeom>
              <a:avLst/>
              <a:gdLst/>
              <a:ahLst/>
              <a:cxnLst/>
              <a:rect l="l" t="t" r="r" b="b"/>
              <a:pathLst>
                <a:path w="446404" h="100329">
                  <a:moveTo>
                    <a:pt x="446363" y="0"/>
                  </a:moveTo>
                  <a:lnTo>
                    <a:pt x="0" y="74133"/>
                  </a:lnTo>
                  <a:lnTo>
                    <a:pt x="0" y="100070"/>
                  </a:lnTo>
                  <a:lnTo>
                    <a:pt x="446363" y="25957"/>
                  </a:lnTo>
                  <a:lnTo>
                    <a:pt x="446363" y="0"/>
                  </a:lnTo>
                  <a:close/>
                </a:path>
              </a:pathLst>
            </a:custGeom>
            <a:solidFill>
              <a:srgbClr val="404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object 260">
              <a:extLst>
                <a:ext uri="{FF2B5EF4-FFF2-40B4-BE49-F238E27FC236}">
                  <a16:creationId xmlns:a16="http://schemas.microsoft.com/office/drawing/2014/main" id="{DDE1A93A-20E3-4107-A381-ACB65A9CE9CC}"/>
                </a:ext>
              </a:extLst>
            </p:cNvPr>
            <p:cNvSpPr/>
            <p:nvPr/>
          </p:nvSpPr>
          <p:spPr>
            <a:xfrm>
              <a:off x="8348767" y="9201789"/>
              <a:ext cx="446405" cy="37465"/>
            </a:xfrm>
            <a:custGeom>
              <a:avLst/>
              <a:gdLst/>
              <a:ahLst/>
              <a:cxnLst/>
              <a:rect l="l" t="t" r="r" b="b"/>
              <a:pathLst>
                <a:path w="446404" h="37465">
                  <a:moveTo>
                    <a:pt x="446363" y="0"/>
                  </a:moveTo>
                  <a:lnTo>
                    <a:pt x="0" y="14847"/>
                  </a:lnTo>
                  <a:lnTo>
                    <a:pt x="0" y="37402"/>
                  </a:lnTo>
                  <a:lnTo>
                    <a:pt x="446363" y="22575"/>
                  </a:lnTo>
                  <a:lnTo>
                    <a:pt x="446363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object 261">
              <a:extLst>
                <a:ext uri="{FF2B5EF4-FFF2-40B4-BE49-F238E27FC236}">
                  <a16:creationId xmlns:a16="http://schemas.microsoft.com/office/drawing/2014/main" id="{89F49B7F-F261-4132-8B7D-2100651677B3}"/>
                </a:ext>
              </a:extLst>
            </p:cNvPr>
            <p:cNvSpPr/>
            <p:nvPr/>
          </p:nvSpPr>
          <p:spPr>
            <a:xfrm>
              <a:off x="8408594" y="7661039"/>
              <a:ext cx="328930" cy="1493520"/>
            </a:xfrm>
            <a:custGeom>
              <a:avLst/>
              <a:gdLst/>
              <a:ahLst/>
              <a:cxnLst/>
              <a:rect l="l" t="t" r="r" b="b"/>
              <a:pathLst>
                <a:path w="328929" h="1493520">
                  <a:moveTo>
                    <a:pt x="69265" y="112433"/>
                  </a:moveTo>
                  <a:lnTo>
                    <a:pt x="69227" y="43230"/>
                  </a:lnTo>
                  <a:lnTo>
                    <a:pt x="0" y="54762"/>
                  </a:lnTo>
                  <a:lnTo>
                    <a:pt x="38" y="123583"/>
                  </a:lnTo>
                  <a:lnTo>
                    <a:pt x="69265" y="112433"/>
                  </a:lnTo>
                  <a:close/>
                </a:path>
                <a:path w="328929" h="1493520">
                  <a:moveTo>
                    <a:pt x="69329" y="250469"/>
                  </a:moveTo>
                  <a:lnTo>
                    <a:pt x="69291" y="181279"/>
                  </a:lnTo>
                  <a:lnTo>
                    <a:pt x="88" y="192062"/>
                  </a:lnTo>
                  <a:lnTo>
                    <a:pt x="127" y="260858"/>
                  </a:lnTo>
                  <a:lnTo>
                    <a:pt x="69329" y="250469"/>
                  </a:lnTo>
                  <a:close/>
                </a:path>
                <a:path w="328929" h="1493520">
                  <a:moveTo>
                    <a:pt x="69392" y="388416"/>
                  </a:moveTo>
                  <a:lnTo>
                    <a:pt x="69367" y="319278"/>
                  </a:lnTo>
                  <a:lnTo>
                    <a:pt x="177" y="329272"/>
                  </a:lnTo>
                  <a:lnTo>
                    <a:pt x="228" y="398018"/>
                  </a:lnTo>
                  <a:lnTo>
                    <a:pt x="69392" y="388416"/>
                  </a:lnTo>
                  <a:close/>
                </a:path>
                <a:path w="328929" h="1493520">
                  <a:moveTo>
                    <a:pt x="69443" y="526338"/>
                  </a:moveTo>
                  <a:lnTo>
                    <a:pt x="69430" y="457225"/>
                  </a:lnTo>
                  <a:lnTo>
                    <a:pt x="241" y="466458"/>
                  </a:lnTo>
                  <a:lnTo>
                    <a:pt x="266" y="535178"/>
                  </a:lnTo>
                  <a:lnTo>
                    <a:pt x="69443" y="526338"/>
                  </a:lnTo>
                  <a:close/>
                </a:path>
                <a:path w="328929" h="1493520">
                  <a:moveTo>
                    <a:pt x="69519" y="664184"/>
                  </a:moveTo>
                  <a:lnTo>
                    <a:pt x="69494" y="595083"/>
                  </a:lnTo>
                  <a:lnTo>
                    <a:pt x="317" y="603542"/>
                  </a:lnTo>
                  <a:lnTo>
                    <a:pt x="355" y="672211"/>
                  </a:lnTo>
                  <a:lnTo>
                    <a:pt x="69519" y="664184"/>
                  </a:lnTo>
                  <a:close/>
                </a:path>
                <a:path w="328929" h="1493520">
                  <a:moveTo>
                    <a:pt x="69583" y="801941"/>
                  </a:moveTo>
                  <a:lnTo>
                    <a:pt x="69532" y="732917"/>
                  </a:lnTo>
                  <a:lnTo>
                    <a:pt x="406" y="740575"/>
                  </a:lnTo>
                  <a:lnTo>
                    <a:pt x="457" y="809244"/>
                  </a:lnTo>
                  <a:lnTo>
                    <a:pt x="69583" y="801941"/>
                  </a:lnTo>
                  <a:close/>
                </a:path>
                <a:path w="328929" h="1493520">
                  <a:moveTo>
                    <a:pt x="69621" y="939698"/>
                  </a:moveTo>
                  <a:lnTo>
                    <a:pt x="69596" y="870661"/>
                  </a:lnTo>
                  <a:lnTo>
                    <a:pt x="469" y="877557"/>
                  </a:lnTo>
                  <a:lnTo>
                    <a:pt x="520" y="946200"/>
                  </a:lnTo>
                  <a:lnTo>
                    <a:pt x="69621" y="939698"/>
                  </a:lnTo>
                  <a:close/>
                </a:path>
                <a:path w="328929" h="1493520">
                  <a:moveTo>
                    <a:pt x="69697" y="1077315"/>
                  </a:moveTo>
                  <a:lnTo>
                    <a:pt x="69672" y="1008329"/>
                  </a:lnTo>
                  <a:lnTo>
                    <a:pt x="546" y="1014463"/>
                  </a:lnTo>
                  <a:lnTo>
                    <a:pt x="609" y="1083081"/>
                  </a:lnTo>
                  <a:lnTo>
                    <a:pt x="69697" y="1077315"/>
                  </a:lnTo>
                  <a:close/>
                </a:path>
                <a:path w="328929" h="1493520">
                  <a:moveTo>
                    <a:pt x="69735" y="1214920"/>
                  </a:moveTo>
                  <a:lnTo>
                    <a:pt x="69710" y="1145959"/>
                  </a:lnTo>
                  <a:lnTo>
                    <a:pt x="647" y="1151318"/>
                  </a:lnTo>
                  <a:lnTo>
                    <a:pt x="673" y="1219898"/>
                  </a:lnTo>
                  <a:lnTo>
                    <a:pt x="69735" y="1214920"/>
                  </a:lnTo>
                  <a:close/>
                </a:path>
                <a:path w="328929" h="1493520">
                  <a:moveTo>
                    <a:pt x="69799" y="1352435"/>
                  </a:moveTo>
                  <a:lnTo>
                    <a:pt x="69786" y="1283525"/>
                  </a:lnTo>
                  <a:lnTo>
                    <a:pt x="711" y="1288110"/>
                  </a:lnTo>
                  <a:lnTo>
                    <a:pt x="762" y="1356664"/>
                  </a:lnTo>
                  <a:lnTo>
                    <a:pt x="69799" y="1352435"/>
                  </a:lnTo>
                  <a:close/>
                </a:path>
                <a:path w="328929" h="1493520">
                  <a:moveTo>
                    <a:pt x="69875" y="1489900"/>
                  </a:moveTo>
                  <a:lnTo>
                    <a:pt x="69850" y="1421003"/>
                  </a:lnTo>
                  <a:lnTo>
                    <a:pt x="787" y="1424825"/>
                  </a:lnTo>
                  <a:lnTo>
                    <a:pt x="838" y="1493329"/>
                  </a:lnTo>
                  <a:lnTo>
                    <a:pt x="69875" y="1489900"/>
                  </a:lnTo>
                  <a:close/>
                </a:path>
                <a:path w="328929" h="1493520">
                  <a:moveTo>
                    <a:pt x="197586" y="91732"/>
                  </a:moveTo>
                  <a:lnTo>
                    <a:pt x="197573" y="21831"/>
                  </a:lnTo>
                  <a:lnTo>
                    <a:pt x="126898" y="33604"/>
                  </a:lnTo>
                  <a:lnTo>
                    <a:pt x="126949" y="103149"/>
                  </a:lnTo>
                  <a:lnTo>
                    <a:pt x="197586" y="91732"/>
                  </a:lnTo>
                  <a:close/>
                </a:path>
                <a:path w="328929" h="1493520">
                  <a:moveTo>
                    <a:pt x="197599" y="161353"/>
                  </a:moveTo>
                  <a:lnTo>
                    <a:pt x="126949" y="172313"/>
                  </a:lnTo>
                  <a:lnTo>
                    <a:pt x="126974" y="241833"/>
                  </a:lnTo>
                  <a:lnTo>
                    <a:pt x="197599" y="231228"/>
                  </a:lnTo>
                  <a:lnTo>
                    <a:pt x="197599" y="161353"/>
                  </a:lnTo>
                  <a:close/>
                </a:path>
                <a:path w="328929" h="1493520">
                  <a:moveTo>
                    <a:pt x="197650" y="370611"/>
                  </a:moveTo>
                  <a:lnTo>
                    <a:pt x="197637" y="300748"/>
                  </a:lnTo>
                  <a:lnTo>
                    <a:pt x="127012" y="310946"/>
                  </a:lnTo>
                  <a:lnTo>
                    <a:pt x="127038" y="380403"/>
                  </a:lnTo>
                  <a:lnTo>
                    <a:pt x="197650" y="370611"/>
                  </a:lnTo>
                  <a:close/>
                </a:path>
                <a:path w="328929" h="1493520">
                  <a:moveTo>
                    <a:pt x="197675" y="440118"/>
                  </a:moveTo>
                  <a:lnTo>
                    <a:pt x="127038" y="449541"/>
                  </a:lnTo>
                  <a:lnTo>
                    <a:pt x="127063" y="518972"/>
                  </a:lnTo>
                  <a:lnTo>
                    <a:pt x="197675" y="509955"/>
                  </a:lnTo>
                  <a:lnTo>
                    <a:pt x="197675" y="440118"/>
                  </a:lnTo>
                  <a:close/>
                </a:path>
                <a:path w="328929" h="1493520">
                  <a:moveTo>
                    <a:pt x="197713" y="649236"/>
                  </a:moveTo>
                  <a:lnTo>
                    <a:pt x="197700" y="579437"/>
                  </a:lnTo>
                  <a:lnTo>
                    <a:pt x="127101" y="588060"/>
                  </a:lnTo>
                  <a:lnTo>
                    <a:pt x="127114" y="657479"/>
                  </a:lnTo>
                  <a:lnTo>
                    <a:pt x="197713" y="649236"/>
                  </a:lnTo>
                  <a:close/>
                </a:path>
                <a:path w="328929" h="1493520">
                  <a:moveTo>
                    <a:pt x="197751" y="857859"/>
                  </a:moveTo>
                  <a:lnTo>
                    <a:pt x="127203" y="864920"/>
                  </a:lnTo>
                  <a:lnTo>
                    <a:pt x="127215" y="934275"/>
                  </a:lnTo>
                  <a:lnTo>
                    <a:pt x="197751" y="927608"/>
                  </a:lnTo>
                  <a:lnTo>
                    <a:pt x="197751" y="857859"/>
                  </a:lnTo>
                  <a:close/>
                </a:path>
                <a:path w="328929" h="1493520">
                  <a:moveTo>
                    <a:pt x="197751" y="788466"/>
                  </a:moveTo>
                  <a:lnTo>
                    <a:pt x="197739" y="718705"/>
                  </a:lnTo>
                  <a:lnTo>
                    <a:pt x="127127" y="726516"/>
                  </a:lnTo>
                  <a:lnTo>
                    <a:pt x="127177" y="795870"/>
                  </a:lnTo>
                  <a:lnTo>
                    <a:pt x="197751" y="788466"/>
                  </a:lnTo>
                  <a:close/>
                </a:path>
                <a:path w="328929" h="1493520">
                  <a:moveTo>
                    <a:pt x="197802" y="1066685"/>
                  </a:moveTo>
                  <a:lnTo>
                    <a:pt x="197777" y="996962"/>
                  </a:lnTo>
                  <a:lnTo>
                    <a:pt x="127241" y="1003236"/>
                  </a:lnTo>
                  <a:lnTo>
                    <a:pt x="127292" y="1072553"/>
                  </a:lnTo>
                  <a:lnTo>
                    <a:pt x="197802" y="1066685"/>
                  </a:lnTo>
                  <a:close/>
                </a:path>
                <a:path w="328929" h="1493520">
                  <a:moveTo>
                    <a:pt x="197827" y="1205687"/>
                  </a:moveTo>
                  <a:lnTo>
                    <a:pt x="197802" y="1136027"/>
                  </a:lnTo>
                  <a:lnTo>
                    <a:pt x="127292" y="1141501"/>
                  </a:lnTo>
                  <a:lnTo>
                    <a:pt x="127330" y="1210754"/>
                  </a:lnTo>
                  <a:lnTo>
                    <a:pt x="197827" y="1205687"/>
                  </a:lnTo>
                  <a:close/>
                </a:path>
                <a:path w="328929" h="1493520">
                  <a:moveTo>
                    <a:pt x="197866" y="1344650"/>
                  </a:moveTo>
                  <a:lnTo>
                    <a:pt x="197840" y="1275016"/>
                  </a:lnTo>
                  <a:lnTo>
                    <a:pt x="127342" y="1279702"/>
                  </a:lnTo>
                  <a:lnTo>
                    <a:pt x="127368" y="1348943"/>
                  </a:lnTo>
                  <a:lnTo>
                    <a:pt x="197866" y="1344650"/>
                  </a:lnTo>
                  <a:close/>
                </a:path>
                <a:path w="328929" h="1493520">
                  <a:moveTo>
                    <a:pt x="197891" y="1413941"/>
                  </a:moveTo>
                  <a:lnTo>
                    <a:pt x="127381" y="1417815"/>
                  </a:lnTo>
                  <a:lnTo>
                    <a:pt x="127419" y="1487043"/>
                  </a:lnTo>
                  <a:lnTo>
                    <a:pt x="197891" y="1483537"/>
                  </a:lnTo>
                  <a:lnTo>
                    <a:pt x="197891" y="1413941"/>
                  </a:lnTo>
                  <a:close/>
                </a:path>
                <a:path w="328929" h="1493520">
                  <a:moveTo>
                    <a:pt x="328587" y="1406690"/>
                  </a:moveTo>
                  <a:lnTo>
                    <a:pt x="256616" y="1410665"/>
                  </a:lnTo>
                  <a:lnTo>
                    <a:pt x="256616" y="1480604"/>
                  </a:lnTo>
                  <a:lnTo>
                    <a:pt x="328587" y="1477010"/>
                  </a:lnTo>
                  <a:lnTo>
                    <a:pt x="328587" y="1406690"/>
                  </a:lnTo>
                  <a:close/>
                </a:path>
                <a:path w="328929" h="1493520">
                  <a:moveTo>
                    <a:pt x="328587" y="1266304"/>
                  </a:moveTo>
                  <a:lnTo>
                    <a:pt x="256590" y="1271104"/>
                  </a:lnTo>
                  <a:lnTo>
                    <a:pt x="256590" y="1341056"/>
                  </a:lnTo>
                  <a:lnTo>
                    <a:pt x="328587" y="1336687"/>
                  </a:lnTo>
                  <a:lnTo>
                    <a:pt x="328587" y="1266304"/>
                  </a:lnTo>
                  <a:close/>
                </a:path>
                <a:path w="328929" h="1493520">
                  <a:moveTo>
                    <a:pt x="328587" y="1125893"/>
                  </a:moveTo>
                  <a:lnTo>
                    <a:pt x="256565" y="1131481"/>
                  </a:lnTo>
                  <a:lnTo>
                    <a:pt x="256565" y="1201458"/>
                  </a:lnTo>
                  <a:lnTo>
                    <a:pt x="328587" y="1196276"/>
                  </a:lnTo>
                  <a:lnTo>
                    <a:pt x="328587" y="1125893"/>
                  </a:lnTo>
                  <a:close/>
                </a:path>
                <a:path w="328929" h="1493520">
                  <a:moveTo>
                    <a:pt x="328587" y="985354"/>
                  </a:moveTo>
                  <a:lnTo>
                    <a:pt x="256552" y="991768"/>
                  </a:lnTo>
                  <a:lnTo>
                    <a:pt x="256565" y="1061808"/>
                  </a:lnTo>
                  <a:lnTo>
                    <a:pt x="328587" y="1055827"/>
                  </a:lnTo>
                  <a:lnTo>
                    <a:pt x="328587" y="985354"/>
                  </a:lnTo>
                  <a:close/>
                </a:path>
                <a:path w="328929" h="1493520">
                  <a:moveTo>
                    <a:pt x="328587" y="844804"/>
                  </a:moveTo>
                  <a:lnTo>
                    <a:pt x="256552" y="852017"/>
                  </a:lnTo>
                  <a:lnTo>
                    <a:pt x="256552" y="922070"/>
                  </a:lnTo>
                  <a:lnTo>
                    <a:pt x="328587" y="915289"/>
                  </a:lnTo>
                  <a:lnTo>
                    <a:pt x="328587" y="844804"/>
                  </a:lnTo>
                  <a:close/>
                </a:path>
                <a:path w="328929" h="1493520">
                  <a:moveTo>
                    <a:pt x="328587" y="704176"/>
                  </a:moveTo>
                  <a:lnTo>
                    <a:pt x="256552" y="712152"/>
                  </a:lnTo>
                  <a:lnTo>
                    <a:pt x="256552" y="782256"/>
                  </a:lnTo>
                  <a:lnTo>
                    <a:pt x="328587" y="774661"/>
                  </a:lnTo>
                  <a:lnTo>
                    <a:pt x="328587" y="704176"/>
                  </a:lnTo>
                  <a:close/>
                </a:path>
                <a:path w="328929" h="1493520">
                  <a:moveTo>
                    <a:pt x="328587" y="563448"/>
                  </a:moveTo>
                  <a:lnTo>
                    <a:pt x="256527" y="572262"/>
                  </a:lnTo>
                  <a:lnTo>
                    <a:pt x="256552" y="642378"/>
                  </a:lnTo>
                  <a:lnTo>
                    <a:pt x="328587" y="633984"/>
                  </a:lnTo>
                  <a:lnTo>
                    <a:pt x="328587" y="563448"/>
                  </a:lnTo>
                  <a:close/>
                </a:path>
                <a:path w="328929" h="1493520">
                  <a:moveTo>
                    <a:pt x="328587" y="422668"/>
                  </a:moveTo>
                  <a:lnTo>
                    <a:pt x="256501" y="432308"/>
                  </a:lnTo>
                  <a:lnTo>
                    <a:pt x="256527" y="502437"/>
                  </a:lnTo>
                  <a:lnTo>
                    <a:pt x="328587" y="493242"/>
                  </a:lnTo>
                  <a:lnTo>
                    <a:pt x="328587" y="422668"/>
                  </a:lnTo>
                  <a:close/>
                </a:path>
                <a:path w="328929" h="1493520">
                  <a:moveTo>
                    <a:pt x="328587" y="281825"/>
                  </a:moveTo>
                  <a:lnTo>
                    <a:pt x="256501" y="292239"/>
                  </a:lnTo>
                  <a:lnTo>
                    <a:pt x="256501" y="362445"/>
                  </a:lnTo>
                  <a:lnTo>
                    <a:pt x="328587" y="352437"/>
                  </a:lnTo>
                  <a:lnTo>
                    <a:pt x="328587" y="281825"/>
                  </a:lnTo>
                  <a:close/>
                </a:path>
                <a:path w="328929" h="1493520">
                  <a:moveTo>
                    <a:pt x="328587" y="140944"/>
                  </a:moveTo>
                  <a:lnTo>
                    <a:pt x="256476" y="152171"/>
                  </a:lnTo>
                  <a:lnTo>
                    <a:pt x="256476" y="222402"/>
                  </a:lnTo>
                  <a:lnTo>
                    <a:pt x="328587" y="211594"/>
                  </a:lnTo>
                  <a:lnTo>
                    <a:pt x="328587" y="140944"/>
                  </a:lnTo>
                  <a:close/>
                </a:path>
                <a:path w="328929" h="1493520">
                  <a:moveTo>
                    <a:pt x="328587" y="0"/>
                  </a:moveTo>
                  <a:lnTo>
                    <a:pt x="256463" y="12014"/>
                  </a:lnTo>
                  <a:lnTo>
                    <a:pt x="256463" y="82270"/>
                  </a:lnTo>
                  <a:lnTo>
                    <a:pt x="328587" y="70650"/>
                  </a:lnTo>
                  <a:lnTo>
                    <a:pt x="328587" y="0"/>
                  </a:lnTo>
                  <a:close/>
                </a:path>
              </a:pathLst>
            </a:custGeom>
            <a:solidFill>
              <a:srgbClr val="40404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object 262">
              <a:extLst>
                <a:ext uri="{FF2B5EF4-FFF2-40B4-BE49-F238E27FC236}">
                  <a16:creationId xmlns:a16="http://schemas.microsoft.com/office/drawing/2014/main" id="{3629E719-7DA1-4881-A453-7634D04C7528}"/>
                </a:ext>
              </a:extLst>
            </p:cNvPr>
            <p:cNvSpPr/>
            <p:nvPr/>
          </p:nvSpPr>
          <p:spPr>
            <a:xfrm>
              <a:off x="8266105" y="7204370"/>
              <a:ext cx="615315" cy="2248535"/>
            </a:xfrm>
            <a:custGeom>
              <a:avLst/>
              <a:gdLst/>
              <a:ahLst/>
              <a:cxnLst/>
              <a:rect l="l" t="t" r="r" b="b"/>
              <a:pathLst>
                <a:path w="615315" h="2248534">
                  <a:moveTo>
                    <a:pt x="615300" y="0"/>
                  </a:moveTo>
                  <a:lnTo>
                    <a:pt x="0" y="114300"/>
                  </a:lnTo>
                  <a:lnTo>
                    <a:pt x="0" y="2248413"/>
                  </a:lnTo>
                  <a:lnTo>
                    <a:pt x="615300" y="0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object 263">
              <a:extLst>
                <a:ext uri="{FF2B5EF4-FFF2-40B4-BE49-F238E27FC236}">
                  <a16:creationId xmlns:a16="http://schemas.microsoft.com/office/drawing/2014/main" id="{DD0BFE9E-B6B6-4642-A600-BD2974C1D60F}"/>
                </a:ext>
              </a:extLst>
            </p:cNvPr>
            <p:cNvSpPr/>
            <p:nvPr/>
          </p:nvSpPr>
          <p:spPr>
            <a:xfrm>
              <a:off x="9067219" y="7008211"/>
              <a:ext cx="1141095" cy="2155190"/>
            </a:xfrm>
            <a:custGeom>
              <a:avLst/>
              <a:gdLst/>
              <a:ahLst/>
              <a:cxnLst/>
              <a:rect l="l" t="t" r="r" b="b"/>
              <a:pathLst>
                <a:path w="1141095" h="2155190">
                  <a:moveTo>
                    <a:pt x="589678" y="0"/>
                  </a:moveTo>
                  <a:lnTo>
                    <a:pt x="0" y="113849"/>
                  </a:lnTo>
                  <a:lnTo>
                    <a:pt x="0" y="2154740"/>
                  </a:lnTo>
                  <a:lnTo>
                    <a:pt x="1140677" y="2154740"/>
                  </a:lnTo>
                  <a:lnTo>
                    <a:pt x="1140677" y="136697"/>
                  </a:lnTo>
                  <a:lnTo>
                    <a:pt x="589678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object 264">
              <a:extLst>
                <a:ext uri="{FF2B5EF4-FFF2-40B4-BE49-F238E27FC236}">
                  <a16:creationId xmlns:a16="http://schemas.microsoft.com/office/drawing/2014/main" id="{C477D875-AC99-48A4-93A2-111BC8D9B7FA}"/>
                </a:ext>
              </a:extLst>
            </p:cNvPr>
            <p:cNvSpPr/>
            <p:nvPr/>
          </p:nvSpPr>
          <p:spPr>
            <a:xfrm>
              <a:off x="9633631" y="7008215"/>
              <a:ext cx="46990" cy="2155190"/>
            </a:xfrm>
            <a:custGeom>
              <a:avLst/>
              <a:gdLst/>
              <a:ahLst/>
              <a:cxnLst/>
              <a:rect l="l" t="t" r="r" b="b"/>
              <a:pathLst>
                <a:path w="46990" h="2155190">
                  <a:moveTo>
                    <a:pt x="23276" y="0"/>
                  </a:moveTo>
                  <a:lnTo>
                    <a:pt x="0" y="4314"/>
                  </a:lnTo>
                  <a:lnTo>
                    <a:pt x="0" y="2154740"/>
                  </a:lnTo>
                  <a:lnTo>
                    <a:pt x="46564" y="2154740"/>
                  </a:lnTo>
                  <a:lnTo>
                    <a:pt x="46564" y="3581"/>
                  </a:lnTo>
                  <a:lnTo>
                    <a:pt x="2327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object 265">
              <a:extLst>
                <a:ext uri="{FF2B5EF4-FFF2-40B4-BE49-F238E27FC236}">
                  <a16:creationId xmlns:a16="http://schemas.microsoft.com/office/drawing/2014/main" id="{F5402734-6853-4C68-888E-072591026ED8}"/>
                </a:ext>
              </a:extLst>
            </p:cNvPr>
            <p:cNvSpPr/>
            <p:nvPr/>
          </p:nvSpPr>
          <p:spPr>
            <a:xfrm>
              <a:off x="9656897" y="7008215"/>
              <a:ext cx="551180" cy="2155190"/>
            </a:xfrm>
            <a:custGeom>
              <a:avLst/>
              <a:gdLst/>
              <a:ahLst/>
              <a:cxnLst/>
              <a:rect l="l" t="t" r="r" b="b"/>
              <a:pathLst>
                <a:path w="551179" h="2155190">
                  <a:moveTo>
                    <a:pt x="0" y="0"/>
                  </a:moveTo>
                  <a:lnTo>
                    <a:pt x="0" y="2154751"/>
                  </a:lnTo>
                  <a:lnTo>
                    <a:pt x="550998" y="2154751"/>
                  </a:lnTo>
                  <a:lnTo>
                    <a:pt x="550998" y="13668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object 266">
              <a:extLst>
                <a:ext uri="{FF2B5EF4-FFF2-40B4-BE49-F238E27FC236}">
                  <a16:creationId xmlns:a16="http://schemas.microsoft.com/office/drawing/2014/main" id="{3B46A209-FC00-408C-BE1A-0A24CCC4B5AA}"/>
                </a:ext>
              </a:extLst>
            </p:cNvPr>
            <p:cNvSpPr/>
            <p:nvPr/>
          </p:nvSpPr>
          <p:spPr>
            <a:xfrm>
              <a:off x="9004396" y="7057572"/>
              <a:ext cx="1266825" cy="2392680"/>
            </a:xfrm>
            <a:custGeom>
              <a:avLst/>
              <a:gdLst/>
              <a:ahLst/>
              <a:cxnLst/>
              <a:rect l="l" t="t" r="r" b="b"/>
              <a:pathLst>
                <a:path w="1266825" h="2392679">
                  <a:moveTo>
                    <a:pt x="654629" y="0"/>
                  </a:moveTo>
                  <a:lnTo>
                    <a:pt x="0" y="121587"/>
                  </a:lnTo>
                  <a:lnTo>
                    <a:pt x="0" y="2392136"/>
                  </a:lnTo>
                  <a:lnTo>
                    <a:pt x="1266327" y="2392136"/>
                  </a:lnTo>
                  <a:lnTo>
                    <a:pt x="1266327" y="146990"/>
                  </a:lnTo>
                  <a:lnTo>
                    <a:pt x="654629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object 267">
              <a:extLst>
                <a:ext uri="{FF2B5EF4-FFF2-40B4-BE49-F238E27FC236}">
                  <a16:creationId xmlns:a16="http://schemas.microsoft.com/office/drawing/2014/main" id="{CD452461-945E-40B1-801B-461B72390ABB}"/>
                </a:ext>
              </a:extLst>
            </p:cNvPr>
            <p:cNvSpPr/>
            <p:nvPr/>
          </p:nvSpPr>
          <p:spPr>
            <a:xfrm>
              <a:off x="9633192" y="7057571"/>
              <a:ext cx="52069" cy="2392680"/>
            </a:xfrm>
            <a:custGeom>
              <a:avLst/>
              <a:gdLst/>
              <a:ahLst/>
              <a:cxnLst/>
              <a:rect l="l" t="t" r="r" b="b"/>
              <a:pathLst>
                <a:path w="52070" h="2392679">
                  <a:moveTo>
                    <a:pt x="25831" y="0"/>
                  </a:moveTo>
                  <a:lnTo>
                    <a:pt x="0" y="4795"/>
                  </a:lnTo>
                  <a:lnTo>
                    <a:pt x="0" y="2392136"/>
                  </a:lnTo>
                  <a:lnTo>
                    <a:pt x="51694" y="2392136"/>
                  </a:lnTo>
                  <a:lnTo>
                    <a:pt x="51694" y="3957"/>
                  </a:lnTo>
                  <a:lnTo>
                    <a:pt x="25831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object 268">
              <a:extLst>
                <a:ext uri="{FF2B5EF4-FFF2-40B4-BE49-F238E27FC236}">
                  <a16:creationId xmlns:a16="http://schemas.microsoft.com/office/drawing/2014/main" id="{05E15CC4-893C-4AB2-B01C-33A6C6CCCE61}"/>
                </a:ext>
              </a:extLst>
            </p:cNvPr>
            <p:cNvSpPr/>
            <p:nvPr/>
          </p:nvSpPr>
          <p:spPr>
            <a:xfrm>
              <a:off x="9659019" y="7057575"/>
              <a:ext cx="612140" cy="2392680"/>
            </a:xfrm>
            <a:custGeom>
              <a:avLst/>
              <a:gdLst/>
              <a:ahLst/>
              <a:cxnLst/>
              <a:rect l="l" t="t" r="r" b="b"/>
              <a:pathLst>
                <a:path w="612140" h="2392679">
                  <a:moveTo>
                    <a:pt x="0" y="0"/>
                  </a:moveTo>
                  <a:lnTo>
                    <a:pt x="0" y="2392136"/>
                  </a:lnTo>
                  <a:lnTo>
                    <a:pt x="611698" y="2392136"/>
                  </a:lnTo>
                  <a:lnTo>
                    <a:pt x="611698" y="1469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object 269">
              <a:extLst>
                <a:ext uri="{FF2B5EF4-FFF2-40B4-BE49-F238E27FC236}">
                  <a16:creationId xmlns:a16="http://schemas.microsoft.com/office/drawing/2014/main" id="{92E82D79-0276-4606-8E7D-A9E81C005A40}"/>
                </a:ext>
              </a:extLst>
            </p:cNvPr>
            <p:cNvSpPr/>
            <p:nvPr/>
          </p:nvSpPr>
          <p:spPr>
            <a:xfrm>
              <a:off x="9659019" y="7204555"/>
              <a:ext cx="612140" cy="2245360"/>
            </a:xfrm>
            <a:custGeom>
              <a:avLst/>
              <a:gdLst/>
              <a:ahLst/>
              <a:cxnLst/>
              <a:rect l="l" t="t" r="r" b="b"/>
              <a:pathLst>
                <a:path w="612140" h="2245359">
                  <a:moveTo>
                    <a:pt x="611698" y="0"/>
                  </a:moveTo>
                  <a:lnTo>
                    <a:pt x="0" y="2245156"/>
                  </a:lnTo>
                  <a:lnTo>
                    <a:pt x="611698" y="2245156"/>
                  </a:lnTo>
                  <a:lnTo>
                    <a:pt x="611698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object 270">
              <a:extLst>
                <a:ext uri="{FF2B5EF4-FFF2-40B4-BE49-F238E27FC236}">
                  <a16:creationId xmlns:a16="http://schemas.microsoft.com/office/drawing/2014/main" id="{A8F95FE3-A118-4385-9C7C-E16FD77138A3}"/>
                </a:ext>
              </a:extLst>
            </p:cNvPr>
            <p:cNvSpPr/>
            <p:nvPr/>
          </p:nvSpPr>
          <p:spPr>
            <a:xfrm>
              <a:off x="9067220" y="9449712"/>
              <a:ext cx="1141095" cy="51435"/>
            </a:xfrm>
            <a:custGeom>
              <a:avLst/>
              <a:gdLst/>
              <a:ahLst/>
              <a:cxnLst/>
              <a:rect l="l" t="t" r="r" b="b"/>
              <a:pathLst>
                <a:path w="1141095" h="51434">
                  <a:moveTo>
                    <a:pt x="1140677" y="0"/>
                  </a:moveTo>
                  <a:lnTo>
                    <a:pt x="0" y="0"/>
                  </a:lnTo>
                  <a:lnTo>
                    <a:pt x="0" y="51108"/>
                  </a:lnTo>
                  <a:lnTo>
                    <a:pt x="1140677" y="51108"/>
                  </a:lnTo>
                  <a:lnTo>
                    <a:pt x="1140677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object 271">
              <a:extLst>
                <a:ext uri="{FF2B5EF4-FFF2-40B4-BE49-F238E27FC236}">
                  <a16:creationId xmlns:a16="http://schemas.microsoft.com/office/drawing/2014/main" id="{9CF7AA37-FC26-43E0-83DD-0DB7DD4668BD}"/>
                </a:ext>
              </a:extLst>
            </p:cNvPr>
            <p:cNvSpPr/>
            <p:nvPr/>
          </p:nvSpPr>
          <p:spPr>
            <a:xfrm>
              <a:off x="9092353" y="7452935"/>
              <a:ext cx="474980" cy="1745614"/>
            </a:xfrm>
            <a:custGeom>
              <a:avLst/>
              <a:gdLst/>
              <a:ahLst/>
              <a:cxnLst/>
              <a:rect l="l" t="t" r="r" b="b"/>
              <a:pathLst>
                <a:path w="474979" h="1745615">
                  <a:moveTo>
                    <a:pt x="474896" y="0"/>
                  </a:moveTo>
                  <a:lnTo>
                    <a:pt x="0" y="78845"/>
                  </a:lnTo>
                  <a:lnTo>
                    <a:pt x="0" y="1745507"/>
                  </a:lnTo>
                  <a:lnTo>
                    <a:pt x="474896" y="1729727"/>
                  </a:lnTo>
                  <a:lnTo>
                    <a:pt x="474896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object 272">
              <a:extLst>
                <a:ext uri="{FF2B5EF4-FFF2-40B4-BE49-F238E27FC236}">
                  <a16:creationId xmlns:a16="http://schemas.microsoft.com/office/drawing/2014/main" id="{7B1708F9-345B-4A6F-97A3-44ABDB8E8ABA}"/>
                </a:ext>
              </a:extLst>
            </p:cNvPr>
            <p:cNvSpPr/>
            <p:nvPr/>
          </p:nvSpPr>
          <p:spPr>
            <a:xfrm>
              <a:off x="9092353" y="7452935"/>
              <a:ext cx="474980" cy="106680"/>
            </a:xfrm>
            <a:custGeom>
              <a:avLst/>
              <a:gdLst/>
              <a:ahLst/>
              <a:cxnLst/>
              <a:rect l="l" t="t" r="r" b="b"/>
              <a:pathLst>
                <a:path w="474979" h="106679">
                  <a:moveTo>
                    <a:pt x="474896" y="0"/>
                  </a:moveTo>
                  <a:lnTo>
                    <a:pt x="0" y="78845"/>
                  </a:lnTo>
                  <a:lnTo>
                    <a:pt x="0" y="106436"/>
                  </a:lnTo>
                  <a:lnTo>
                    <a:pt x="474896" y="27590"/>
                  </a:lnTo>
                  <a:lnTo>
                    <a:pt x="474896" y="0"/>
                  </a:lnTo>
                  <a:close/>
                </a:path>
              </a:pathLst>
            </a:custGeom>
            <a:solidFill>
              <a:srgbClr val="404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object 273">
              <a:extLst>
                <a:ext uri="{FF2B5EF4-FFF2-40B4-BE49-F238E27FC236}">
                  <a16:creationId xmlns:a16="http://schemas.microsoft.com/office/drawing/2014/main" id="{C5DDC4CE-E1E5-4C8B-A779-5F0C5864DA44}"/>
                </a:ext>
              </a:extLst>
            </p:cNvPr>
            <p:cNvSpPr/>
            <p:nvPr/>
          </p:nvSpPr>
          <p:spPr>
            <a:xfrm>
              <a:off x="9092353" y="9182659"/>
              <a:ext cx="474980" cy="40005"/>
            </a:xfrm>
            <a:custGeom>
              <a:avLst/>
              <a:gdLst/>
              <a:ahLst/>
              <a:cxnLst/>
              <a:rect l="l" t="t" r="r" b="b"/>
              <a:pathLst>
                <a:path w="474979" h="40004">
                  <a:moveTo>
                    <a:pt x="474896" y="0"/>
                  </a:moveTo>
                  <a:lnTo>
                    <a:pt x="0" y="15790"/>
                  </a:lnTo>
                  <a:lnTo>
                    <a:pt x="0" y="39820"/>
                  </a:lnTo>
                  <a:lnTo>
                    <a:pt x="474896" y="24041"/>
                  </a:lnTo>
                  <a:lnTo>
                    <a:pt x="474896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object 274">
              <a:extLst>
                <a:ext uri="{FF2B5EF4-FFF2-40B4-BE49-F238E27FC236}">
                  <a16:creationId xmlns:a16="http://schemas.microsoft.com/office/drawing/2014/main" id="{FF9713A5-597F-4B35-AF07-B5CBC3FBAD19}"/>
                </a:ext>
              </a:extLst>
            </p:cNvPr>
            <p:cNvSpPr/>
            <p:nvPr/>
          </p:nvSpPr>
          <p:spPr>
            <a:xfrm>
              <a:off x="9156014" y="7543412"/>
              <a:ext cx="349885" cy="1589405"/>
            </a:xfrm>
            <a:custGeom>
              <a:avLst/>
              <a:gdLst/>
              <a:ahLst/>
              <a:cxnLst/>
              <a:rect l="l" t="t" r="r" b="b"/>
              <a:pathLst>
                <a:path w="349884" h="1589404">
                  <a:moveTo>
                    <a:pt x="73660" y="119646"/>
                  </a:moveTo>
                  <a:lnTo>
                    <a:pt x="73634" y="46012"/>
                  </a:lnTo>
                  <a:lnTo>
                    <a:pt x="0" y="58305"/>
                  </a:lnTo>
                  <a:lnTo>
                    <a:pt x="38" y="131495"/>
                  </a:lnTo>
                  <a:lnTo>
                    <a:pt x="73660" y="119646"/>
                  </a:lnTo>
                  <a:close/>
                </a:path>
                <a:path w="349884" h="1589404">
                  <a:moveTo>
                    <a:pt x="73723" y="266484"/>
                  </a:moveTo>
                  <a:lnTo>
                    <a:pt x="73685" y="192913"/>
                  </a:lnTo>
                  <a:lnTo>
                    <a:pt x="76" y="204381"/>
                  </a:lnTo>
                  <a:lnTo>
                    <a:pt x="127" y="277558"/>
                  </a:lnTo>
                  <a:lnTo>
                    <a:pt x="73723" y="266484"/>
                  </a:lnTo>
                  <a:close/>
                </a:path>
                <a:path w="349884" h="1589404">
                  <a:moveTo>
                    <a:pt x="73799" y="413258"/>
                  </a:moveTo>
                  <a:lnTo>
                    <a:pt x="73774" y="339699"/>
                  </a:lnTo>
                  <a:lnTo>
                    <a:pt x="177" y="350342"/>
                  </a:lnTo>
                  <a:lnTo>
                    <a:pt x="228" y="423468"/>
                  </a:lnTo>
                  <a:lnTo>
                    <a:pt x="73799" y="413258"/>
                  </a:lnTo>
                  <a:close/>
                </a:path>
                <a:path w="349884" h="1589404">
                  <a:moveTo>
                    <a:pt x="73863" y="560006"/>
                  </a:moveTo>
                  <a:lnTo>
                    <a:pt x="73825" y="486473"/>
                  </a:lnTo>
                  <a:lnTo>
                    <a:pt x="241" y="496290"/>
                  </a:lnTo>
                  <a:lnTo>
                    <a:pt x="292" y="569391"/>
                  </a:lnTo>
                  <a:lnTo>
                    <a:pt x="73863" y="560006"/>
                  </a:lnTo>
                  <a:close/>
                </a:path>
                <a:path w="349884" h="1589404">
                  <a:moveTo>
                    <a:pt x="73926" y="706653"/>
                  </a:moveTo>
                  <a:lnTo>
                    <a:pt x="73901" y="633171"/>
                  </a:lnTo>
                  <a:lnTo>
                    <a:pt x="330" y="642162"/>
                  </a:lnTo>
                  <a:lnTo>
                    <a:pt x="381" y="715238"/>
                  </a:lnTo>
                  <a:lnTo>
                    <a:pt x="73926" y="706653"/>
                  </a:lnTo>
                  <a:close/>
                </a:path>
                <a:path w="349884" h="1589404">
                  <a:moveTo>
                    <a:pt x="73990" y="853249"/>
                  </a:moveTo>
                  <a:lnTo>
                    <a:pt x="73952" y="779792"/>
                  </a:lnTo>
                  <a:lnTo>
                    <a:pt x="393" y="787946"/>
                  </a:lnTo>
                  <a:lnTo>
                    <a:pt x="444" y="860996"/>
                  </a:lnTo>
                  <a:lnTo>
                    <a:pt x="73990" y="853249"/>
                  </a:lnTo>
                  <a:close/>
                </a:path>
                <a:path w="349884" h="1589404">
                  <a:moveTo>
                    <a:pt x="74053" y="999769"/>
                  </a:moveTo>
                  <a:lnTo>
                    <a:pt x="74041" y="926338"/>
                  </a:lnTo>
                  <a:lnTo>
                    <a:pt x="495" y="933665"/>
                  </a:lnTo>
                  <a:lnTo>
                    <a:pt x="533" y="1006690"/>
                  </a:lnTo>
                  <a:lnTo>
                    <a:pt x="74053" y="999769"/>
                  </a:lnTo>
                  <a:close/>
                </a:path>
                <a:path w="349884" h="1589404">
                  <a:moveTo>
                    <a:pt x="74117" y="1146213"/>
                  </a:moveTo>
                  <a:lnTo>
                    <a:pt x="74104" y="1072807"/>
                  </a:lnTo>
                  <a:lnTo>
                    <a:pt x="558" y="1079322"/>
                  </a:lnTo>
                  <a:lnTo>
                    <a:pt x="609" y="1152334"/>
                  </a:lnTo>
                  <a:lnTo>
                    <a:pt x="74117" y="1146213"/>
                  </a:lnTo>
                  <a:close/>
                </a:path>
                <a:path w="349884" h="1589404">
                  <a:moveTo>
                    <a:pt x="74206" y="1292606"/>
                  </a:moveTo>
                  <a:lnTo>
                    <a:pt x="74155" y="1219238"/>
                  </a:lnTo>
                  <a:lnTo>
                    <a:pt x="647" y="1224940"/>
                  </a:lnTo>
                  <a:lnTo>
                    <a:pt x="698" y="1297901"/>
                  </a:lnTo>
                  <a:lnTo>
                    <a:pt x="74206" y="1292606"/>
                  </a:lnTo>
                  <a:close/>
                </a:path>
                <a:path w="349884" h="1589404">
                  <a:moveTo>
                    <a:pt x="74269" y="1438897"/>
                  </a:moveTo>
                  <a:lnTo>
                    <a:pt x="74231" y="1365580"/>
                  </a:lnTo>
                  <a:lnTo>
                    <a:pt x="711" y="1370482"/>
                  </a:lnTo>
                  <a:lnTo>
                    <a:pt x="762" y="1443405"/>
                  </a:lnTo>
                  <a:lnTo>
                    <a:pt x="74269" y="1438897"/>
                  </a:lnTo>
                  <a:close/>
                </a:path>
                <a:path w="349884" h="1589404">
                  <a:moveTo>
                    <a:pt x="74320" y="1585150"/>
                  </a:moveTo>
                  <a:lnTo>
                    <a:pt x="74307" y="1511858"/>
                  </a:lnTo>
                  <a:lnTo>
                    <a:pt x="812" y="1515935"/>
                  </a:lnTo>
                  <a:lnTo>
                    <a:pt x="863" y="1588820"/>
                  </a:lnTo>
                  <a:lnTo>
                    <a:pt x="74320" y="1585150"/>
                  </a:lnTo>
                  <a:close/>
                </a:path>
                <a:path w="349884" h="1589404">
                  <a:moveTo>
                    <a:pt x="210197" y="97637"/>
                  </a:moveTo>
                  <a:lnTo>
                    <a:pt x="210185" y="23241"/>
                  </a:lnTo>
                  <a:lnTo>
                    <a:pt x="134988" y="35775"/>
                  </a:lnTo>
                  <a:lnTo>
                    <a:pt x="135026" y="109766"/>
                  </a:lnTo>
                  <a:lnTo>
                    <a:pt x="210197" y="97637"/>
                  </a:lnTo>
                  <a:close/>
                </a:path>
                <a:path w="349884" h="1589404">
                  <a:moveTo>
                    <a:pt x="210248" y="246037"/>
                  </a:moveTo>
                  <a:lnTo>
                    <a:pt x="210223" y="171678"/>
                  </a:lnTo>
                  <a:lnTo>
                    <a:pt x="135051" y="183375"/>
                  </a:lnTo>
                  <a:lnTo>
                    <a:pt x="135077" y="257314"/>
                  </a:lnTo>
                  <a:lnTo>
                    <a:pt x="210248" y="246037"/>
                  </a:lnTo>
                  <a:close/>
                </a:path>
                <a:path w="349884" h="1589404">
                  <a:moveTo>
                    <a:pt x="210286" y="394322"/>
                  </a:moveTo>
                  <a:lnTo>
                    <a:pt x="210261" y="320001"/>
                  </a:lnTo>
                  <a:lnTo>
                    <a:pt x="135102" y="330835"/>
                  </a:lnTo>
                  <a:lnTo>
                    <a:pt x="135128" y="404749"/>
                  </a:lnTo>
                  <a:lnTo>
                    <a:pt x="210286" y="394322"/>
                  </a:lnTo>
                  <a:close/>
                </a:path>
                <a:path w="349884" h="1589404">
                  <a:moveTo>
                    <a:pt x="210299" y="542582"/>
                  </a:moveTo>
                  <a:lnTo>
                    <a:pt x="210286" y="468287"/>
                  </a:lnTo>
                  <a:lnTo>
                    <a:pt x="135140" y="478282"/>
                  </a:lnTo>
                  <a:lnTo>
                    <a:pt x="135191" y="552157"/>
                  </a:lnTo>
                  <a:lnTo>
                    <a:pt x="210299" y="542582"/>
                  </a:lnTo>
                  <a:close/>
                </a:path>
                <a:path w="349884" h="1589404">
                  <a:moveTo>
                    <a:pt x="210337" y="690778"/>
                  </a:moveTo>
                  <a:lnTo>
                    <a:pt x="210324" y="616508"/>
                  </a:lnTo>
                  <a:lnTo>
                    <a:pt x="135216" y="625665"/>
                  </a:lnTo>
                  <a:lnTo>
                    <a:pt x="135229" y="699528"/>
                  </a:lnTo>
                  <a:lnTo>
                    <a:pt x="210337" y="690778"/>
                  </a:lnTo>
                  <a:close/>
                </a:path>
                <a:path w="349884" h="1589404">
                  <a:moveTo>
                    <a:pt x="210362" y="838885"/>
                  </a:moveTo>
                  <a:lnTo>
                    <a:pt x="210350" y="764667"/>
                  </a:lnTo>
                  <a:lnTo>
                    <a:pt x="135255" y="772972"/>
                  </a:lnTo>
                  <a:lnTo>
                    <a:pt x="135293" y="846785"/>
                  </a:lnTo>
                  <a:lnTo>
                    <a:pt x="210362" y="838885"/>
                  </a:lnTo>
                  <a:close/>
                </a:path>
                <a:path w="349884" h="1589404">
                  <a:moveTo>
                    <a:pt x="210388" y="912723"/>
                  </a:moveTo>
                  <a:lnTo>
                    <a:pt x="135331" y="920229"/>
                  </a:lnTo>
                  <a:lnTo>
                    <a:pt x="135331" y="994016"/>
                  </a:lnTo>
                  <a:lnTo>
                    <a:pt x="210388" y="986929"/>
                  </a:lnTo>
                  <a:lnTo>
                    <a:pt x="210388" y="912723"/>
                  </a:lnTo>
                  <a:close/>
                </a:path>
                <a:path w="349884" h="1589404">
                  <a:moveTo>
                    <a:pt x="210439" y="1134897"/>
                  </a:moveTo>
                  <a:lnTo>
                    <a:pt x="210413" y="1060716"/>
                  </a:lnTo>
                  <a:lnTo>
                    <a:pt x="135382" y="1067384"/>
                  </a:lnTo>
                  <a:lnTo>
                    <a:pt x="135407" y="1141133"/>
                  </a:lnTo>
                  <a:lnTo>
                    <a:pt x="210439" y="1134897"/>
                  </a:lnTo>
                  <a:close/>
                </a:path>
                <a:path w="349884" h="1589404">
                  <a:moveTo>
                    <a:pt x="210451" y="1282776"/>
                  </a:moveTo>
                  <a:lnTo>
                    <a:pt x="210439" y="1208671"/>
                  </a:lnTo>
                  <a:lnTo>
                    <a:pt x="135407" y="1214488"/>
                  </a:lnTo>
                  <a:lnTo>
                    <a:pt x="135445" y="1288173"/>
                  </a:lnTo>
                  <a:lnTo>
                    <a:pt x="210451" y="1282776"/>
                  </a:lnTo>
                  <a:close/>
                </a:path>
                <a:path w="349884" h="1589404">
                  <a:moveTo>
                    <a:pt x="210502" y="1430616"/>
                  </a:moveTo>
                  <a:lnTo>
                    <a:pt x="210489" y="1356537"/>
                  </a:lnTo>
                  <a:lnTo>
                    <a:pt x="135470" y="1361541"/>
                  </a:lnTo>
                  <a:lnTo>
                    <a:pt x="135496" y="1435188"/>
                  </a:lnTo>
                  <a:lnTo>
                    <a:pt x="210502" y="1430616"/>
                  </a:lnTo>
                  <a:close/>
                </a:path>
                <a:path w="349884" h="1589404">
                  <a:moveTo>
                    <a:pt x="210527" y="1504327"/>
                  </a:moveTo>
                  <a:lnTo>
                    <a:pt x="135496" y="1508467"/>
                  </a:lnTo>
                  <a:lnTo>
                    <a:pt x="135547" y="1582115"/>
                  </a:lnTo>
                  <a:lnTo>
                    <a:pt x="210527" y="1578381"/>
                  </a:lnTo>
                  <a:lnTo>
                    <a:pt x="210527" y="1504327"/>
                  </a:lnTo>
                  <a:close/>
                </a:path>
                <a:path w="349884" h="1589404">
                  <a:moveTo>
                    <a:pt x="349567" y="1496644"/>
                  </a:moveTo>
                  <a:lnTo>
                    <a:pt x="273011" y="1500873"/>
                  </a:lnTo>
                  <a:lnTo>
                    <a:pt x="273011" y="1575269"/>
                  </a:lnTo>
                  <a:lnTo>
                    <a:pt x="349567" y="1571459"/>
                  </a:lnTo>
                  <a:lnTo>
                    <a:pt x="349567" y="1496644"/>
                  </a:lnTo>
                  <a:close/>
                </a:path>
                <a:path w="349884" h="1589404">
                  <a:moveTo>
                    <a:pt x="349567" y="1347279"/>
                  </a:moveTo>
                  <a:lnTo>
                    <a:pt x="272999" y="1352384"/>
                  </a:lnTo>
                  <a:lnTo>
                    <a:pt x="272999" y="1426806"/>
                  </a:lnTo>
                  <a:lnTo>
                    <a:pt x="349567" y="1422158"/>
                  </a:lnTo>
                  <a:lnTo>
                    <a:pt x="349567" y="1347279"/>
                  </a:lnTo>
                  <a:close/>
                </a:path>
                <a:path w="349884" h="1589404">
                  <a:moveTo>
                    <a:pt x="349567" y="1197889"/>
                  </a:moveTo>
                  <a:lnTo>
                    <a:pt x="272973" y="1203807"/>
                  </a:lnTo>
                  <a:lnTo>
                    <a:pt x="272973" y="1278293"/>
                  </a:lnTo>
                  <a:lnTo>
                    <a:pt x="349567" y="1272768"/>
                  </a:lnTo>
                  <a:lnTo>
                    <a:pt x="349567" y="1197889"/>
                  </a:lnTo>
                  <a:close/>
                </a:path>
                <a:path w="349884" h="1589404">
                  <a:moveTo>
                    <a:pt x="349567" y="1048385"/>
                  </a:moveTo>
                  <a:lnTo>
                    <a:pt x="272948" y="1055166"/>
                  </a:lnTo>
                  <a:lnTo>
                    <a:pt x="272973" y="1129703"/>
                  </a:lnTo>
                  <a:lnTo>
                    <a:pt x="349567" y="1123340"/>
                  </a:lnTo>
                  <a:lnTo>
                    <a:pt x="349567" y="1048385"/>
                  </a:lnTo>
                  <a:close/>
                </a:path>
                <a:path w="349884" h="1589404">
                  <a:moveTo>
                    <a:pt x="349567" y="898842"/>
                  </a:moveTo>
                  <a:lnTo>
                    <a:pt x="272923" y="906487"/>
                  </a:lnTo>
                  <a:lnTo>
                    <a:pt x="272923" y="981049"/>
                  </a:lnTo>
                  <a:lnTo>
                    <a:pt x="349567" y="973797"/>
                  </a:lnTo>
                  <a:lnTo>
                    <a:pt x="349567" y="898842"/>
                  </a:lnTo>
                  <a:close/>
                </a:path>
                <a:path w="349884" h="1589404">
                  <a:moveTo>
                    <a:pt x="349567" y="749211"/>
                  </a:moveTo>
                  <a:lnTo>
                    <a:pt x="272910" y="757707"/>
                  </a:lnTo>
                  <a:lnTo>
                    <a:pt x="272923" y="832269"/>
                  </a:lnTo>
                  <a:lnTo>
                    <a:pt x="349567" y="824204"/>
                  </a:lnTo>
                  <a:lnTo>
                    <a:pt x="349567" y="749211"/>
                  </a:lnTo>
                  <a:close/>
                </a:path>
                <a:path w="349884" h="1589404">
                  <a:moveTo>
                    <a:pt x="349567" y="599516"/>
                  </a:moveTo>
                  <a:lnTo>
                    <a:pt x="272884" y="608850"/>
                  </a:lnTo>
                  <a:lnTo>
                    <a:pt x="272910" y="683475"/>
                  </a:lnTo>
                  <a:lnTo>
                    <a:pt x="349567" y="674535"/>
                  </a:lnTo>
                  <a:lnTo>
                    <a:pt x="349567" y="599516"/>
                  </a:lnTo>
                  <a:close/>
                </a:path>
                <a:path w="349884" h="1589404">
                  <a:moveTo>
                    <a:pt x="349567" y="449745"/>
                  </a:moveTo>
                  <a:lnTo>
                    <a:pt x="272859" y="459943"/>
                  </a:lnTo>
                  <a:lnTo>
                    <a:pt x="272884" y="534581"/>
                  </a:lnTo>
                  <a:lnTo>
                    <a:pt x="349567" y="524789"/>
                  </a:lnTo>
                  <a:lnTo>
                    <a:pt x="349567" y="449745"/>
                  </a:lnTo>
                  <a:close/>
                </a:path>
                <a:path w="349884" h="1589404">
                  <a:moveTo>
                    <a:pt x="349567" y="299885"/>
                  </a:moveTo>
                  <a:lnTo>
                    <a:pt x="272859" y="310959"/>
                  </a:lnTo>
                  <a:lnTo>
                    <a:pt x="272859" y="385635"/>
                  </a:lnTo>
                  <a:lnTo>
                    <a:pt x="349567" y="374980"/>
                  </a:lnTo>
                  <a:lnTo>
                    <a:pt x="349567" y="299885"/>
                  </a:lnTo>
                  <a:close/>
                </a:path>
                <a:path w="349884" h="1589404">
                  <a:moveTo>
                    <a:pt x="349567" y="149999"/>
                  </a:moveTo>
                  <a:lnTo>
                    <a:pt x="272846" y="161925"/>
                  </a:lnTo>
                  <a:lnTo>
                    <a:pt x="272859" y="236639"/>
                  </a:lnTo>
                  <a:lnTo>
                    <a:pt x="349567" y="225145"/>
                  </a:lnTo>
                  <a:lnTo>
                    <a:pt x="349567" y="149999"/>
                  </a:lnTo>
                  <a:close/>
                </a:path>
                <a:path w="349884" h="1589404">
                  <a:moveTo>
                    <a:pt x="349567" y="0"/>
                  </a:moveTo>
                  <a:lnTo>
                    <a:pt x="272821" y="12788"/>
                  </a:lnTo>
                  <a:lnTo>
                    <a:pt x="272834" y="87566"/>
                  </a:lnTo>
                  <a:lnTo>
                    <a:pt x="349567" y="75171"/>
                  </a:lnTo>
                  <a:lnTo>
                    <a:pt x="349567" y="0"/>
                  </a:lnTo>
                  <a:close/>
                </a:path>
              </a:pathLst>
            </a:custGeom>
            <a:solidFill>
              <a:srgbClr val="40404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object 275">
              <a:extLst>
                <a:ext uri="{FF2B5EF4-FFF2-40B4-BE49-F238E27FC236}">
                  <a16:creationId xmlns:a16="http://schemas.microsoft.com/office/drawing/2014/main" id="{763F07E0-A26D-432C-92A9-B810C0D86918}"/>
                </a:ext>
              </a:extLst>
            </p:cNvPr>
            <p:cNvSpPr/>
            <p:nvPr/>
          </p:nvSpPr>
          <p:spPr>
            <a:xfrm>
              <a:off x="9004396" y="7057572"/>
              <a:ext cx="654685" cy="2392680"/>
            </a:xfrm>
            <a:custGeom>
              <a:avLst/>
              <a:gdLst/>
              <a:ahLst/>
              <a:cxnLst/>
              <a:rect l="l" t="t" r="r" b="b"/>
              <a:pathLst>
                <a:path w="654684" h="2392679">
                  <a:moveTo>
                    <a:pt x="654629" y="0"/>
                  </a:moveTo>
                  <a:lnTo>
                    <a:pt x="0" y="121587"/>
                  </a:lnTo>
                  <a:lnTo>
                    <a:pt x="0" y="2392136"/>
                  </a:lnTo>
                  <a:lnTo>
                    <a:pt x="654629" y="0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object 276">
              <a:extLst>
                <a:ext uri="{FF2B5EF4-FFF2-40B4-BE49-F238E27FC236}">
                  <a16:creationId xmlns:a16="http://schemas.microsoft.com/office/drawing/2014/main" id="{43A2FF48-50E4-4EE7-94A1-4E2F685DABAD}"/>
                </a:ext>
              </a:extLst>
            </p:cNvPr>
            <p:cNvSpPr/>
            <p:nvPr/>
          </p:nvSpPr>
          <p:spPr>
            <a:xfrm>
              <a:off x="9871195" y="6846845"/>
              <a:ext cx="1214755" cy="2294255"/>
            </a:xfrm>
            <a:custGeom>
              <a:avLst/>
              <a:gdLst/>
              <a:ahLst/>
              <a:cxnLst/>
              <a:rect l="l" t="t" r="r" b="b"/>
              <a:pathLst>
                <a:path w="1214754" h="2294254">
                  <a:moveTo>
                    <a:pt x="627855" y="0"/>
                  </a:moveTo>
                  <a:lnTo>
                    <a:pt x="0" y="121221"/>
                  </a:lnTo>
                  <a:lnTo>
                    <a:pt x="0" y="2294254"/>
                  </a:lnTo>
                  <a:lnTo>
                    <a:pt x="1214517" y="2294254"/>
                  </a:lnTo>
                  <a:lnTo>
                    <a:pt x="1214517" y="145545"/>
                  </a:lnTo>
                  <a:lnTo>
                    <a:pt x="627855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object 277">
              <a:extLst>
                <a:ext uri="{FF2B5EF4-FFF2-40B4-BE49-F238E27FC236}">
                  <a16:creationId xmlns:a16="http://schemas.microsoft.com/office/drawing/2014/main" id="{3727B3DE-34B1-4610-8679-2FEEE416DF02}"/>
                </a:ext>
              </a:extLst>
            </p:cNvPr>
            <p:cNvSpPr/>
            <p:nvPr/>
          </p:nvSpPr>
          <p:spPr>
            <a:xfrm>
              <a:off x="10474268" y="6846849"/>
              <a:ext cx="50165" cy="2294255"/>
            </a:xfrm>
            <a:custGeom>
              <a:avLst/>
              <a:gdLst/>
              <a:ahLst/>
              <a:cxnLst/>
              <a:rect l="l" t="t" r="r" b="b"/>
              <a:pathLst>
                <a:path w="50165" h="2294254">
                  <a:moveTo>
                    <a:pt x="24784" y="0"/>
                  </a:moveTo>
                  <a:lnTo>
                    <a:pt x="0" y="4596"/>
                  </a:lnTo>
                  <a:lnTo>
                    <a:pt x="0" y="2294254"/>
                  </a:lnTo>
                  <a:lnTo>
                    <a:pt x="49569" y="2294254"/>
                  </a:lnTo>
                  <a:lnTo>
                    <a:pt x="49569" y="3790"/>
                  </a:lnTo>
                  <a:lnTo>
                    <a:pt x="24784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object 278">
              <a:extLst>
                <a:ext uri="{FF2B5EF4-FFF2-40B4-BE49-F238E27FC236}">
                  <a16:creationId xmlns:a16="http://schemas.microsoft.com/office/drawing/2014/main" id="{D4C63FA8-AB2A-403F-9797-D6BC3117635D}"/>
                </a:ext>
              </a:extLst>
            </p:cNvPr>
            <p:cNvSpPr/>
            <p:nvPr/>
          </p:nvSpPr>
          <p:spPr>
            <a:xfrm>
              <a:off x="10499054" y="6846852"/>
              <a:ext cx="586740" cy="2294255"/>
            </a:xfrm>
            <a:custGeom>
              <a:avLst/>
              <a:gdLst/>
              <a:ahLst/>
              <a:cxnLst/>
              <a:rect l="l" t="t" r="r" b="b"/>
              <a:pathLst>
                <a:path w="586740" h="2294254">
                  <a:moveTo>
                    <a:pt x="0" y="0"/>
                  </a:moveTo>
                  <a:lnTo>
                    <a:pt x="0" y="2294244"/>
                  </a:lnTo>
                  <a:lnTo>
                    <a:pt x="586652" y="2294244"/>
                  </a:lnTo>
                  <a:lnTo>
                    <a:pt x="586652" y="1455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object 279">
              <a:extLst>
                <a:ext uri="{FF2B5EF4-FFF2-40B4-BE49-F238E27FC236}">
                  <a16:creationId xmlns:a16="http://schemas.microsoft.com/office/drawing/2014/main" id="{EC07A9EF-192E-4C29-AD5E-E8EB9BB66757}"/>
                </a:ext>
              </a:extLst>
            </p:cNvPr>
            <p:cNvSpPr/>
            <p:nvPr/>
          </p:nvSpPr>
          <p:spPr>
            <a:xfrm>
              <a:off x="9804293" y="6899392"/>
              <a:ext cx="1348740" cy="2547620"/>
            </a:xfrm>
            <a:custGeom>
              <a:avLst/>
              <a:gdLst/>
              <a:ahLst/>
              <a:cxnLst/>
              <a:rect l="l" t="t" r="r" b="b"/>
              <a:pathLst>
                <a:path w="1348740" h="2547620">
                  <a:moveTo>
                    <a:pt x="697025" y="0"/>
                  </a:moveTo>
                  <a:lnTo>
                    <a:pt x="0" y="129482"/>
                  </a:lnTo>
                  <a:lnTo>
                    <a:pt x="0" y="2547000"/>
                  </a:lnTo>
                  <a:lnTo>
                    <a:pt x="1348304" y="2547000"/>
                  </a:lnTo>
                  <a:lnTo>
                    <a:pt x="1348304" y="156497"/>
                  </a:lnTo>
                  <a:lnTo>
                    <a:pt x="697025" y="0"/>
                  </a:lnTo>
                  <a:close/>
                </a:path>
              </a:pathLst>
            </a:custGeom>
            <a:solidFill>
              <a:srgbClr val="EDEFF8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object 280">
              <a:extLst>
                <a:ext uri="{FF2B5EF4-FFF2-40B4-BE49-F238E27FC236}">
                  <a16:creationId xmlns:a16="http://schemas.microsoft.com/office/drawing/2014/main" id="{A85A28A7-BDE6-4402-9D3E-1A9D072D861E}"/>
                </a:ext>
              </a:extLst>
            </p:cNvPr>
            <p:cNvSpPr/>
            <p:nvPr/>
          </p:nvSpPr>
          <p:spPr>
            <a:xfrm>
              <a:off x="10473808" y="6899397"/>
              <a:ext cx="55244" cy="2547620"/>
            </a:xfrm>
            <a:custGeom>
              <a:avLst/>
              <a:gdLst/>
              <a:ahLst/>
              <a:cxnLst/>
              <a:rect l="l" t="t" r="r" b="b"/>
              <a:pathLst>
                <a:path w="55245" h="2547620">
                  <a:moveTo>
                    <a:pt x="27507" y="0"/>
                  </a:moveTo>
                  <a:lnTo>
                    <a:pt x="0" y="5109"/>
                  </a:lnTo>
                  <a:lnTo>
                    <a:pt x="0" y="2547000"/>
                  </a:lnTo>
                  <a:lnTo>
                    <a:pt x="55034" y="2547000"/>
                  </a:lnTo>
                  <a:lnTo>
                    <a:pt x="55034" y="4230"/>
                  </a:lnTo>
                  <a:lnTo>
                    <a:pt x="27507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object 281">
              <a:extLst>
                <a:ext uri="{FF2B5EF4-FFF2-40B4-BE49-F238E27FC236}">
                  <a16:creationId xmlns:a16="http://schemas.microsoft.com/office/drawing/2014/main" id="{E9060A63-2304-4F62-9756-17050104254D}"/>
                </a:ext>
              </a:extLst>
            </p:cNvPr>
            <p:cNvSpPr/>
            <p:nvPr/>
          </p:nvSpPr>
          <p:spPr>
            <a:xfrm>
              <a:off x="10501320" y="6899399"/>
              <a:ext cx="651510" cy="2547620"/>
            </a:xfrm>
            <a:custGeom>
              <a:avLst/>
              <a:gdLst/>
              <a:ahLst/>
              <a:cxnLst/>
              <a:rect l="l" t="t" r="r" b="b"/>
              <a:pathLst>
                <a:path w="651509" h="2547620">
                  <a:moveTo>
                    <a:pt x="0" y="0"/>
                  </a:moveTo>
                  <a:lnTo>
                    <a:pt x="0" y="2547000"/>
                  </a:lnTo>
                  <a:lnTo>
                    <a:pt x="651278" y="2547000"/>
                  </a:lnTo>
                  <a:lnTo>
                    <a:pt x="651278" y="1564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04041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object 282">
              <a:extLst>
                <a:ext uri="{FF2B5EF4-FFF2-40B4-BE49-F238E27FC236}">
                  <a16:creationId xmlns:a16="http://schemas.microsoft.com/office/drawing/2014/main" id="{F0CB4E72-B02D-4835-A897-2221F8A18488}"/>
                </a:ext>
              </a:extLst>
            </p:cNvPr>
            <p:cNvSpPr/>
            <p:nvPr/>
          </p:nvSpPr>
          <p:spPr>
            <a:xfrm>
              <a:off x="10501320" y="7055886"/>
              <a:ext cx="651510" cy="2390775"/>
            </a:xfrm>
            <a:custGeom>
              <a:avLst/>
              <a:gdLst/>
              <a:ahLst/>
              <a:cxnLst/>
              <a:rect l="l" t="t" r="r" b="b"/>
              <a:pathLst>
                <a:path w="651509" h="2390775">
                  <a:moveTo>
                    <a:pt x="651278" y="0"/>
                  </a:moveTo>
                  <a:lnTo>
                    <a:pt x="0" y="2390513"/>
                  </a:lnTo>
                  <a:lnTo>
                    <a:pt x="651278" y="2390513"/>
                  </a:lnTo>
                  <a:lnTo>
                    <a:pt x="651278" y="0"/>
                  </a:lnTo>
                  <a:close/>
                </a:path>
              </a:pathLst>
            </a:custGeom>
            <a:solidFill>
              <a:srgbClr val="404041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object 283">
              <a:extLst>
                <a:ext uri="{FF2B5EF4-FFF2-40B4-BE49-F238E27FC236}">
                  <a16:creationId xmlns:a16="http://schemas.microsoft.com/office/drawing/2014/main" id="{0710BC01-60C2-4AD2-B265-7C6DADFF518D}"/>
                </a:ext>
              </a:extLst>
            </p:cNvPr>
            <p:cNvSpPr/>
            <p:nvPr/>
          </p:nvSpPr>
          <p:spPr>
            <a:xfrm>
              <a:off x="9871196" y="9446403"/>
              <a:ext cx="1214755" cy="54610"/>
            </a:xfrm>
            <a:custGeom>
              <a:avLst/>
              <a:gdLst/>
              <a:ahLst/>
              <a:cxnLst/>
              <a:rect l="l" t="t" r="r" b="b"/>
              <a:pathLst>
                <a:path w="1214754" h="54609">
                  <a:moveTo>
                    <a:pt x="1214517" y="0"/>
                  </a:moveTo>
                  <a:lnTo>
                    <a:pt x="0" y="0"/>
                  </a:lnTo>
                  <a:lnTo>
                    <a:pt x="0" y="54417"/>
                  </a:lnTo>
                  <a:lnTo>
                    <a:pt x="1214517" y="54417"/>
                  </a:lnTo>
                  <a:lnTo>
                    <a:pt x="1214517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object 284">
              <a:extLst>
                <a:ext uri="{FF2B5EF4-FFF2-40B4-BE49-F238E27FC236}">
                  <a16:creationId xmlns:a16="http://schemas.microsoft.com/office/drawing/2014/main" id="{6E3C5F42-4746-478F-BF12-A579B744695A}"/>
                </a:ext>
              </a:extLst>
            </p:cNvPr>
            <p:cNvSpPr/>
            <p:nvPr/>
          </p:nvSpPr>
          <p:spPr>
            <a:xfrm>
              <a:off x="9897934" y="7320358"/>
              <a:ext cx="506095" cy="1858645"/>
            </a:xfrm>
            <a:custGeom>
              <a:avLst/>
              <a:gdLst/>
              <a:ahLst/>
              <a:cxnLst/>
              <a:rect l="l" t="t" r="r" b="b"/>
              <a:pathLst>
                <a:path w="506095" h="1858645">
                  <a:moveTo>
                    <a:pt x="505659" y="0"/>
                  </a:moveTo>
                  <a:lnTo>
                    <a:pt x="0" y="83955"/>
                  </a:lnTo>
                  <a:lnTo>
                    <a:pt x="0" y="1858519"/>
                  </a:lnTo>
                  <a:lnTo>
                    <a:pt x="505659" y="1841713"/>
                  </a:lnTo>
                  <a:lnTo>
                    <a:pt x="505659" y="0"/>
                  </a:lnTo>
                  <a:close/>
                </a:path>
              </a:pathLst>
            </a:custGeom>
            <a:solidFill>
              <a:srgbClr val="9AA2B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object 285">
              <a:extLst>
                <a:ext uri="{FF2B5EF4-FFF2-40B4-BE49-F238E27FC236}">
                  <a16:creationId xmlns:a16="http://schemas.microsoft.com/office/drawing/2014/main" id="{92FFACEC-1C96-4F10-8336-3C6C1608A95B}"/>
                </a:ext>
              </a:extLst>
            </p:cNvPr>
            <p:cNvSpPr/>
            <p:nvPr/>
          </p:nvSpPr>
          <p:spPr>
            <a:xfrm>
              <a:off x="9897934" y="7320358"/>
              <a:ext cx="506095" cy="113664"/>
            </a:xfrm>
            <a:custGeom>
              <a:avLst/>
              <a:gdLst/>
              <a:ahLst/>
              <a:cxnLst/>
              <a:rect l="l" t="t" r="r" b="b"/>
              <a:pathLst>
                <a:path w="506095" h="113665">
                  <a:moveTo>
                    <a:pt x="505659" y="0"/>
                  </a:moveTo>
                  <a:lnTo>
                    <a:pt x="0" y="83955"/>
                  </a:lnTo>
                  <a:lnTo>
                    <a:pt x="0" y="113336"/>
                  </a:lnTo>
                  <a:lnTo>
                    <a:pt x="505659" y="29370"/>
                  </a:lnTo>
                  <a:lnTo>
                    <a:pt x="505659" y="0"/>
                  </a:lnTo>
                  <a:close/>
                </a:path>
              </a:pathLst>
            </a:custGeom>
            <a:solidFill>
              <a:srgbClr val="40404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object 286">
              <a:extLst>
                <a:ext uri="{FF2B5EF4-FFF2-40B4-BE49-F238E27FC236}">
                  <a16:creationId xmlns:a16="http://schemas.microsoft.com/office/drawing/2014/main" id="{7A0A717F-E397-4B1A-84CA-0112FBE1D58A}"/>
                </a:ext>
              </a:extLst>
            </p:cNvPr>
            <p:cNvSpPr/>
            <p:nvPr/>
          </p:nvSpPr>
          <p:spPr>
            <a:xfrm>
              <a:off x="9897934" y="9162069"/>
              <a:ext cx="506095" cy="42545"/>
            </a:xfrm>
            <a:custGeom>
              <a:avLst/>
              <a:gdLst/>
              <a:ahLst/>
              <a:cxnLst/>
              <a:rect l="l" t="t" r="r" b="b"/>
              <a:pathLst>
                <a:path w="506095" h="42545">
                  <a:moveTo>
                    <a:pt x="505659" y="0"/>
                  </a:moveTo>
                  <a:lnTo>
                    <a:pt x="0" y="16805"/>
                  </a:lnTo>
                  <a:lnTo>
                    <a:pt x="0" y="42396"/>
                  </a:lnTo>
                  <a:lnTo>
                    <a:pt x="505659" y="25590"/>
                  </a:lnTo>
                  <a:lnTo>
                    <a:pt x="505659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object 287">
              <a:extLst>
                <a:ext uri="{FF2B5EF4-FFF2-40B4-BE49-F238E27FC236}">
                  <a16:creationId xmlns:a16="http://schemas.microsoft.com/office/drawing/2014/main" id="{AEC8A874-4F6F-478C-9127-34CE0A8FE230}"/>
                </a:ext>
              </a:extLst>
            </p:cNvPr>
            <p:cNvSpPr/>
            <p:nvPr/>
          </p:nvSpPr>
          <p:spPr>
            <a:xfrm>
              <a:off x="9965728" y="7416704"/>
              <a:ext cx="372745" cy="1692275"/>
            </a:xfrm>
            <a:custGeom>
              <a:avLst/>
              <a:gdLst/>
              <a:ahLst/>
              <a:cxnLst/>
              <a:rect l="l" t="t" r="r" b="b"/>
              <a:pathLst>
                <a:path w="372745" h="1692275">
                  <a:moveTo>
                    <a:pt x="78435" y="127368"/>
                  </a:moveTo>
                  <a:lnTo>
                    <a:pt x="78397" y="48996"/>
                  </a:lnTo>
                  <a:lnTo>
                    <a:pt x="0" y="62052"/>
                  </a:lnTo>
                  <a:lnTo>
                    <a:pt x="50" y="140017"/>
                  </a:lnTo>
                  <a:lnTo>
                    <a:pt x="78435" y="127368"/>
                  </a:lnTo>
                  <a:close/>
                </a:path>
                <a:path w="372745" h="1692275">
                  <a:moveTo>
                    <a:pt x="78498" y="283756"/>
                  </a:moveTo>
                  <a:lnTo>
                    <a:pt x="78460" y="205409"/>
                  </a:lnTo>
                  <a:lnTo>
                    <a:pt x="88" y="217589"/>
                  </a:lnTo>
                  <a:lnTo>
                    <a:pt x="139" y="295516"/>
                  </a:lnTo>
                  <a:lnTo>
                    <a:pt x="78498" y="283756"/>
                  </a:lnTo>
                  <a:close/>
                </a:path>
                <a:path w="372745" h="1692275">
                  <a:moveTo>
                    <a:pt x="78574" y="440004"/>
                  </a:moveTo>
                  <a:lnTo>
                    <a:pt x="78549" y="361683"/>
                  </a:lnTo>
                  <a:lnTo>
                    <a:pt x="177" y="373011"/>
                  </a:lnTo>
                  <a:lnTo>
                    <a:pt x="228" y="450875"/>
                  </a:lnTo>
                  <a:lnTo>
                    <a:pt x="78574" y="440004"/>
                  </a:lnTo>
                  <a:close/>
                </a:path>
                <a:path w="372745" h="1692275">
                  <a:moveTo>
                    <a:pt x="78651" y="596239"/>
                  </a:moveTo>
                  <a:lnTo>
                    <a:pt x="78613" y="517956"/>
                  </a:lnTo>
                  <a:lnTo>
                    <a:pt x="254" y="528383"/>
                  </a:lnTo>
                  <a:lnTo>
                    <a:pt x="304" y="606247"/>
                  </a:lnTo>
                  <a:lnTo>
                    <a:pt x="78651" y="596239"/>
                  </a:lnTo>
                  <a:close/>
                </a:path>
                <a:path w="372745" h="1692275">
                  <a:moveTo>
                    <a:pt x="78714" y="752398"/>
                  </a:moveTo>
                  <a:lnTo>
                    <a:pt x="78689" y="674154"/>
                  </a:lnTo>
                  <a:lnTo>
                    <a:pt x="342" y="683704"/>
                  </a:lnTo>
                  <a:lnTo>
                    <a:pt x="393" y="761517"/>
                  </a:lnTo>
                  <a:lnTo>
                    <a:pt x="78714" y="752398"/>
                  </a:lnTo>
                  <a:close/>
                </a:path>
                <a:path w="372745" h="1692275">
                  <a:moveTo>
                    <a:pt x="78778" y="908469"/>
                  </a:moveTo>
                  <a:lnTo>
                    <a:pt x="78752" y="830262"/>
                  </a:lnTo>
                  <a:lnTo>
                    <a:pt x="431" y="838936"/>
                  </a:lnTo>
                  <a:lnTo>
                    <a:pt x="482" y="916711"/>
                  </a:lnTo>
                  <a:lnTo>
                    <a:pt x="78778" y="908469"/>
                  </a:lnTo>
                  <a:close/>
                </a:path>
                <a:path w="372745" h="1692275">
                  <a:moveTo>
                    <a:pt x="78854" y="1064488"/>
                  </a:moveTo>
                  <a:lnTo>
                    <a:pt x="78828" y="986294"/>
                  </a:lnTo>
                  <a:lnTo>
                    <a:pt x="533" y="994105"/>
                  </a:lnTo>
                  <a:lnTo>
                    <a:pt x="571" y="1071867"/>
                  </a:lnTo>
                  <a:lnTo>
                    <a:pt x="78854" y="1064488"/>
                  </a:lnTo>
                  <a:close/>
                </a:path>
                <a:path w="372745" h="1692275">
                  <a:moveTo>
                    <a:pt x="78930" y="1220406"/>
                  </a:moveTo>
                  <a:lnTo>
                    <a:pt x="78892" y="1142263"/>
                  </a:lnTo>
                  <a:lnTo>
                    <a:pt x="609" y="1149184"/>
                  </a:lnTo>
                  <a:lnTo>
                    <a:pt x="660" y="1226921"/>
                  </a:lnTo>
                  <a:lnTo>
                    <a:pt x="78930" y="1220406"/>
                  </a:lnTo>
                  <a:close/>
                </a:path>
                <a:path w="372745" h="1692275">
                  <a:moveTo>
                    <a:pt x="79006" y="1376273"/>
                  </a:moveTo>
                  <a:lnTo>
                    <a:pt x="78955" y="1298168"/>
                  </a:lnTo>
                  <a:lnTo>
                    <a:pt x="698" y="1304226"/>
                  </a:lnTo>
                  <a:lnTo>
                    <a:pt x="749" y="1381912"/>
                  </a:lnTo>
                  <a:lnTo>
                    <a:pt x="79006" y="1376273"/>
                  </a:lnTo>
                  <a:close/>
                </a:path>
                <a:path w="372745" h="1692275">
                  <a:moveTo>
                    <a:pt x="79057" y="1532051"/>
                  </a:moveTo>
                  <a:lnTo>
                    <a:pt x="79044" y="1453997"/>
                  </a:lnTo>
                  <a:lnTo>
                    <a:pt x="787" y="1459191"/>
                  </a:lnTo>
                  <a:lnTo>
                    <a:pt x="838" y="1536827"/>
                  </a:lnTo>
                  <a:lnTo>
                    <a:pt x="79057" y="1532051"/>
                  </a:lnTo>
                  <a:close/>
                </a:path>
                <a:path w="372745" h="1692275">
                  <a:moveTo>
                    <a:pt x="79133" y="1687766"/>
                  </a:moveTo>
                  <a:lnTo>
                    <a:pt x="79108" y="1609737"/>
                  </a:lnTo>
                  <a:lnTo>
                    <a:pt x="863" y="1614055"/>
                  </a:lnTo>
                  <a:lnTo>
                    <a:pt x="914" y="1691665"/>
                  </a:lnTo>
                  <a:lnTo>
                    <a:pt x="79133" y="1687766"/>
                  </a:lnTo>
                  <a:close/>
                </a:path>
                <a:path w="372745" h="1692275">
                  <a:moveTo>
                    <a:pt x="223812" y="103949"/>
                  </a:moveTo>
                  <a:lnTo>
                    <a:pt x="223774" y="24752"/>
                  </a:lnTo>
                  <a:lnTo>
                    <a:pt x="143738" y="38087"/>
                  </a:lnTo>
                  <a:lnTo>
                    <a:pt x="143776" y="116840"/>
                  </a:lnTo>
                  <a:lnTo>
                    <a:pt x="223812" y="103949"/>
                  </a:lnTo>
                  <a:close/>
                </a:path>
                <a:path w="372745" h="1692275">
                  <a:moveTo>
                    <a:pt x="223837" y="261962"/>
                  </a:moveTo>
                  <a:lnTo>
                    <a:pt x="223824" y="182791"/>
                  </a:lnTo>
                  <a:lnTo>
                    <a:pt x="143802" y="195224"/>
                  </a:lnTo>
                  <a:lnTo>
                    <a:pt x="143827" y="273964"/>
                  </a:lnTo>
                  <a:lnTo>
                    <a:pt x="223837" y="261962"/>
                  </a:lnTo>
                  <a:close/>
                </a:path>
                <a:path w="372745" h="1692275">
                  <a:moveTo>
                    <a:pt x="223888" y="419823"/>
                  </a:moveTo>
                  <a:lnTo>
                    <a:pt x="223862" y="340702"/>
                  </a:lnTo>
                  <a:lnTo>
                    <a:pt x="143865" y="352234"/>
                  </a:lnTo>
                  <a:lnTo>
                    <a:pt x="143878" y="430936"/>
                  </a:lnTo>
                  <a:lnTo>
                    <a:pt x="223888" y="419823"/>
                  </a:lnTo>
                  <a:close/>
                </a:path>
                <a:path w="372745" h="1692275">
                  <a:moveTo>
                    <a:pt x="223913" y="577672"/>
                  </a:moveTo>
                  <a:lnTo>
                    <a:pt x="223901" y="498602"/>
                  </a:lnTo>
                  <a:lnTo>
                    <a:pt x="143903" y="509244"/>
                  </a:lnTo>
                  <a:lnTo>
                    <a:pt x="143929" y="587908"/>
                  </a:lnTo>
                  <a:lnTo>
                    <a:pt x="223913" y="577672"/>
                  </a:lnTo>
                  <a:close/>
                </a:path>
                <a:path w="372745" h="1692275">
                  <a:moveTo>
                    <a:pt x="223951" y="735469"/>
                  </a:moveTo>
                  <a:lnTo>
                    <a:pt x="223939" y="656412"/>
                  </a:lnTo>
                  <a:lnTo>
                    <a:pt x="143967" y="666165"/>
                  </a:lnTo>
                  <a:lnTo>
                    <a:pt x="143992" y="744791"/>
                  </a:lnTo>
                  <a:lnTo>
                    <a:pt x="223951" y="735469"/>
                  </a:lnTo>
                  <a:close/>
                </a:path>
                <a:path w="372745" h="1692275">
                  <a:moveTo>
                    <a:pt x="224002" y="893165"/>
                  </a:moveTo>
                  <a:lnTo>
                    <a:pt x="223964" y="814158"/>
                  </a:lnTo>
                  <a:lnTo>
                    <a:pt x="144018" y="823010"/>
                  </a:lnTo>
                  <a:lnTo>
                    <a:pt x="144056" y="901598"/>
                  </a:lnTo>
                  <a:lnTo>
                    <a:pt x="224002" y="893165"/>
                  </a:lnTo>
                  <a:close/>
                </a:path>
                <a:path w="372745" h="1692275">
                  <a:moveTo>
                    <a:pt x="224015" y="971816"/>
                  </a:moveTo>
                  <a:lnTo>
                    <a:pt x="144081" y="979792"/>
                  </a:lnTo>
                  <a:lnTo>
                    <a:pt x="144094" y="1058354"/>
                  </a:lnTo>
                  <a:lnTo>
                    <a:pt x="224015" y="1050798"/>
                  </a:lnTo>
                  <a:lnTo>
                    <a:pt x="224015" y="971816"/>
                  </a:lnTo>
                  <a:close/>
                </a:path>
                <a:path w="372745" h="1692275">
                  <a:moveTo>
                    <a:pt x="224066" y="1208354"/>
                  </a:moveTo>
                  <a:lnTo>
                    <a:pt x="224028" y="1129372"/>
                  </a:lnTo>
                  <a:lnTo>
                    <a:pt x="144132" y="1136459"/>
                  </a:lnTo>
                  <a:lnTo>
                    <a:pt x="144170" y="1214996"/>
                  </a:lnTo>
                  <a:lnTo>
                    <a:pt x="224066" y="1208354"/>
                  </a:lnTo>
                  <a:close/>
                </a:path>
                <a:path w="372745" h="1692275">
                  <a:moveTo>
                    <a:pt x="224078" y="1365808"/>
                  </a:moveTo>
                  <a:lnTo>
                    <a:pt x="224066" y="1286929"/>
                  </a:lnTo>
                  <a:lnTo>
                    <a:pt x="144183" y="1293101"/>
                  </a:lnTo>
                  <a:lnTo>
                    <a:pt x="144208" y="1371574"/>
                  </a:lnTo>
                  <a:lnTo>
                    <a:pt x="224078" y="1365808"/>
                  </a:lnTo>
                  <a:close/>
                </a:path>
                <a:path w="372745" h="1692275">
                  <a:moveTo>
                    <a:pt x="224116" y="1523238"/>
                  </a:moveTo>
                  <a:lnTo>
                    <a:pt x="224104" y="1444358"/>
                  </a:lnTo>
                  <a:lnTo>
                    <a:pt x="144233" y="1449654"/>
                  </a:lnTo>
                  <a:lnTo>
                    <a:pt x="144259" y="1528089"/>
                  </a:lnTo>
                  <a:lnTo>
                    <a:pt x="224116" y="1523238"/>
                  </a:lnTo>
                  <a:close/>
                </a:path>
                <a:path w="372745" h="1692275">
                  <a:moveTo>
                    <a:pt x="224167" y="1601711"/>
                  </a:moveTo>
                  <a:lnTo>
                    <a:pt x="144284" y="1606118"/>
                  </a:lnTo>
                  <a:lnTo>
                    <a:pt x="144322" y="1684515"/>
                  </a:lnTo>
                  <a:lnTo>
                    <a:pt x="224167" y="1680552"/>
                  </a:lnTo>
                  <a:lnTo>
                    <a:pt x="224167" y="1601711"/>
                  </a:lnTo>
                  <a:close/>
                </a:path>
                <a:path w="372745" h="1692275">
                  <a:moveTo>
                    <a:pt x="372198" y="1593532"/>
                  </a:moveTo>
                  <a:lnTo>
                    <a:pt x="290690" y="1598015"/>
                  </a:lnTo>
                  <a:lnTo>
                    <a:pt x="290703" y="1677238"/>
                  </a:lnTo>
                  <a:lnTo>
                    <a:pt x="372198" y="1673174"/>
                  </a:lnTo>
                  <a:lnTo>
                    <a:pt x="372198" y="1593532"/>
                  </a:lnTo>
                  <a:close/>
                </a:path>
                <a:path w="372745" h="1692275">
                  <a:moveTo>
                    <a:pt x="372198" y="1275435"/>
                  </a:moveTo>
                  <a:lnTo>
                    <a:pt x="290639" y="1281760"/>
                  </a:lnTo>
                  <a:lnTo>
                    <a:pt x="290652" y="1361033"/>
                  </a:lnTo>
                  <a:lnTo>
                    <a:pt x="372198" y="1355140"/>
                  </a:lnTo>
                  <a:lnTo>
                    <a:pt x="372198" y="1275435"/>
                  </a:lnTo>
                  <a:close/>
                </a:path>
                <a:path w="372745" h="1692275">
                  <a:moveTo>
                    <a:pt x="372198" y="1116241"/>
                  </a:moveTo>
                  <a:lnTo>
                    <a:pt x="290626" y="1123480"/>
                  </a:lnTo>
                  <a:lnTo>
                    <a:pt x="290639" y="1202817"/>
                  </a:lnTo>
                  <a:lnTo>
                    <a:pt x="372198" y="1196047"/>
                  </a:lnTo>
                  <a:lnTo>
                    <a:pt x="372198" y="1116241"/>
                  </a:lnTo>
                  <a:close/>
                </a:path>
                <a:path w="372745" h="1692275">
                  <a:moveTo>
                    <a:pt x="372198" y="957021"/>
                  </a:moveTo>
                  <a:lnTo>
                    <a:pt x="290614" y="965161"/>
                  </a:lnTo>
                  <a:lnTo>
                    <a:pt x="290614" y="1044524"/>
                  </a:lnTo>
                  <a:lnTo>
                    <a:pt x="372198" y="1036840"/>
                  </a:lnTo>
                  <a:lnTo>
                    <a:pt x="372198" y="957021"/>
                  </a:lnTo>
                  <a:close/>
                </a:path>
                <a:path w="372745" h="1692275">
                  <a:moveTo>
                    <a:pt x="372198" y="797699"/>
                  </a:moveTo>
                  <a:lnTo>
                    <a:pt x="290588" y="806754"/>
                  </a:lnTo>
                  <a:lnTo>
                    <a:pt x="290601" y="886142"/>
                  </a:lnTo>
                  <a:lnTo>
                    <a:pt x="372198" y="877557"/>
                  </a:lnTo>
                  <a:lnTo>
                    <a:pt x="372198" y="797699"/>
                  </a:lnTo>
                  <a:close/>
                </a:path>
                <a:path w="372745" h="1692275">
                  <a:moveTo>
                    <a:pt x="372198" y="638302"/>
                  </a:moveTo>
                  <a:lnTo>
                    <a:pt x="290563" y="648258"/>
                  </a:lnTo>
                  <a:lnTo>
                    <a:pt x="290588" y="727710"/>
                  </a:lnTo>
                  <a:lnTo>
                    <a:pt x="372198" y="718197"/>
                  </a:lnTo>
                  <a:lnTo>
                    <a:pt x="372198" y="638302"/>
                  </a:lnTo>
                  <a:close/>
                </a:path>
                <a:path w="372745" h="1692275">
                  <a:moveTo>
                    <a:pt x="372198" y="478828"/>
                  </a:moveTo>
                  <a:lnTo>
                    <a:pt x="290537" y="489699"/>
                  </a:lnTo>
                  <a:lnTo>
                    <a:pt x="290563" y="569175"/>
                  </a:lnTo>
                  <a:lnTo>
                    <a:pt x="372198" y="558761"/>
                  </a:lnTo>
                  <a:lnTo>
                    <a:pt x="372198" y="478828"/>
                  </a:lnTo>
                  <a:close/>
                </a:path>
                <a:path w="372745" h="1692275">
                  <a:moveTo>
                    <a:pt x="372198" y="319290"/>
                  </a:moveTo>
                  <a:lnTo>
                    <a:pt x="290537" y="331063"/>
                  </a:lnTo>
                  <a:lnTo>
                    <a:pt x="290537" y="410578"/>
                  </a:lnTo>
                  <a:lnTo>
                    <a:pt x="372198" y="399249"/>
                  </a:lnTo>
                  <a:lnTo>
                    <a:pt x="372198" y="319290"/>
                  </a:lnTo>
                  <a:close/>
                </a:path>
                <a:path w="372745" h="1692275">
                  <a:moveTo>
                    <a:pt x="372198" y="159689"/>
                  </a:moveTo>
                  <a:lnTo>
                    <a:pt x="290512" y="172402"/>
                  </a:lnTo>
                  <a:lnTo>
                    <a:pt x="290525" y="251968"/>
                  </a:lnTo>
                  <a:lnTo>
                    <a:pt x="372198" y="239699"/>
                  </a:lnTo>
                  <a:lnTo>
                    <a:pt x="372198" y="159689"/>
                  </a:lnTo>
                  <a:close/>
                </a:path>
                <a:path w="372745" h="1692275">
                  <a:moveTo>
                    <a:pt x="372198" y="0"/>
                  </a:moveTo>
                  <a:lnTo>
                    <a:pt x="290499" y="13614"/>
                  </a:lnTo>
                  <a:lnTo>
                    <a:pt x="290512" y="93218"/>
                  </a:lnTo>
                  <a:lnTo>
                    <a:pt x="372198" y="80035"/>
                  </a:lnTo>
                  <a:lnTo>
                    <a:pt x="372198" y="0"/>
                  </a:lnTo>
                  <a:close/>
                </a:path>
                <a:path w="372745" h="1692275">
                  <a:moveTo>
                    <a:pt x="372211" y="1434515"/>
                  </a:moveTo>
                  <a:lnTo>
                    <a:pt x="290677" y="1439926"/>
                  </a:lnTo>
                  <a:lnTo>
                    <a:pt x="290677" y="1519174"/>
                  </a:lnTo>
                  <a:lnTo>
                    <a:pt x="372211" y="1514208"/>
                  </a:lnTo>
                  <a:lnTo>
                    <a:pt x="372211" y="1434515"/>
                  </a:lnTo>
                  <a:close/>
                </a:path>
              </a:pathLst>
            </a:custGeom>
            <a:solidFill>
              <a:srgbClr val="404041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object 288">
              <a:extLst>
                <a:ext uri="{FF2B5EF4-FFF2-40B4-BE49-F238E27FC236}">
                  <a16:creationId xmlns:a16="http://schemas.microsoft.com/office/drawing/2014/main" id="{7FD619DE-35E5-488B-B6CC-677D6D1EC71E}"/>
                </a:ext>
              </a:extLst>
            </p:cNvPr>
            <p:cNvSpPr/>
            <p:nvPr/>
          </p:nvSpPr>
          <p:spPr>
            <a:xfrm>
              <a:off x="9804293" y="6899392"/>
              <a:ext cx="697230" cy="2547620"/>
            </a:xfrm>
            <a:custGeom>
              <a:avLst/>
              <a:gdLst/>
              <a:ahLst/>
              <a:cxnLst/>
              <a:rect l="l" t="t" r="r" b="b"/>
              <a:pathLst>
                <a:path w="697229" h="2547620">
                  <a:moveTo>
                    <a:pt x="697025" y="0"/>
                  </a:moveTo>
                  <a:lnTo>
                    <a:pt x="0" y="129482"/>
                  </a:lnTo>
                  <a:lnTo>
                    <a:pt x="0" y="2547000"/>
                  </a:lnTo>
                  <a:lnTo>
                    <a:pt x="697025" y="0"/>
                  </a:lnTo>
                  <a:close/>
                </a:path>
              </a:pathLst>
            </a:custGeom>
            <a:solidFill>
              <a:srgbClr val="FFFFFF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53" name="object 289">
              <a:extLst>
                <a:ext uri="{FF2B5EF4-FFF2-40B4-BE49-F238E27FC236}">
                  <a16:creationId xmlns:a16="http://schemas.microsoft.com/office/drawing/2014/main" id="{5552C6CA-4101-4D3A-8F76-03B8E51CF072}"/>
                </a:ext>
              </a:extLst>
            </p:cNvPr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868904" y="7527278"/>
              <a:ext cx="2336537" cy="1951270"/>
            </a:xfrm>
            <a:prstGeom prst="rect">
              <a:avLst/>
            </a:prstGeom>
          </p:spPr>
        </p:pic>
        <p:sp>
          <p:nvSpPr>
            <p:cNvPr id="254" name="object 290">
              <a:extLst>
                <a:ext uri="{FF2B5EF4-FFF2-40B4-BE49-F238E27FC236}">
                  <a16:creationId xmlns:a16="http://schemas.microsoft.com/office/drawing/2014/main" id="{904065E2-9C03-4975-8D7C-81C93DFA4C62}"/>
                </a:ext>
              </a:extLst>
            </p:cNvPr>
            <p:cNvSpPr/>
            <p:nvPr/>
          </p:nvSpPr>
          <p:spPr>
            <a:xfrm>
              <a:off x="5704988" y="8595183"/>
              <a:ext cx="243204" cy="883919"/>
            </a:xfrm>
            <a:custGeom>
              <a:avLst/>
              <a:gdLst/>
              <a:ahLst/>
              <a:cxnLst/>
              <a:rect l="l" t="t" r="r" b="b"/>
              <a:pathLst>
                <a:path w="243204" h="883920">
                  <a:moveTo>
                    <a:pt x="242788" y="0"/>
                  </a:moveTo>
                  <a:lnTo>
                    <a:pt x="0" y="0"/>
                  </a:lnTo>
                  <a:lnTo>
                    <a:pt x="0" y="883365"/>
                  </a:lnTo>
                  <a:lnTo>
                    <a:pt x="242788" y="883365"/>
                  </a:lnTo>
                  <a:lnTo>
                    <a:pt x="242788" y="0"/>
                  </a:lnTo>
                  <a:close/>
                </a:path>
              </a:pathLst>
            </a:custGeom>
            <a:solidFill>
              <a:srgbClr val="57667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object 291">
              <a:extLst>
                <a:ext uri="{FF2B5EF4-FFF2-40B4-BE49-F238E27FC236}">
                  <a16:creationId xmlns:a16="http://schemas.microsoft.com/office/drawing/2014/main" id="{41FD6D30-4265-4680-85B1-E28E8975E277}"/>
                </a:ext>
              </a:extLst>
            </p:cNvPr>
            <p:cNvSpPr/>
            <p:nvPr/>
          </p:nvSpPr>
          <p:spPr>
            <a:xfrm>
              <a:off x="5736558" y="8595183"/>
              <a:ext cx="37465" cy="883919"/>
            </a:xfrm>
            <a:custGeom>
              <a:avLst/>
              <a:gdLst/>
              <a:ahLst/>
              <a:cxnLst/>
              <a:rect l="l" t="t" r="r" b="b"/>
              <a:pathLst>
                <a:path w="37464" h="883920">
                  <a:moveTo>
                    <a:pt x="37108" y="0"/>
                  </a:moveTo>
                  <a:lnTo>
                    <a:pt x="0" y="0"/>
                  </a:lnTo>
                  <a:lnTo>
                    <a:pt x="0" y="883365"/>
                  </a:lnTo>
                  <a:lnTo>
                    <a:pt x="37108" y="883365"/>
                  </a:lnTo>
                  <a:lnTo>
                    <a:pt x="37108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object 292">
              <a:extLst>
                <a:ext uri="{FF2B5EF4-FFF2-40B4-BE49-F238E27FC236}">
                  <a16:creationId xmlns:a16="http://schemas.microsoft.com/office/drawing/2014/main" id="{B2445A57-19F5-45CE-A5A1-C70C90360B98}"/>
                </a:ext>
              </a:extLst>
            </p:cNvPr>
            <p:cNvSpPr/>
            <p:nvPr/>
          </p:nvSpPr>
          <p:spPr>
            <a:xfrm>
              <a:off x="5858607" y="8595183"/>
              <a:ext cx="57150" cy="883919"/>
            </a:xfrm>
            <a:custGeom>
              <a:avLst/>
              <a:gdLst/>
              <a:ahLst/>
              <a:cxnLst/>
              <a:rect l="l" t="t" r="r" b="b"/>
              <a:pathLst>
                <a:path w="57150" h="883920">
                  <a:moveTo>
                    <a:pt x="57024" y="0"/>
                  </a:moveTo>
                  <a:lnTo>
                    <a:pt x="0" y="0"/>
                  </a:lnTo>
                  <a:lnTo>
                    <a:pt x="0" y="883365"/>
                  </a:lnTo>
                  <a:lnTo>
                    <a:pt x="57024" y="883365"/>
                  </a:lnTo>
                  <a:lnTo>
                    <a:pt x="57024" y="0"/>
                  </a:lnTo>
                  <a:close/>
                </a:path>
              </a:pathLst>
            </a:custGeom>
            <a:solidFill>
              <a:srgbClr val="000000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object 293">
              <a:extLst>
                <a:ext uri="{FF2B5EF4-FFF2-40B4-BE49-F238E27FC236}">
                  <a16:creationId xmlns:a16="http://schemas.microsoft.com/office/drawing/2014/main" id="{BB1573AB-ACDF-47A1-9FD8-DA1AA0BC134C}"/>
                </a:ext>
              </a:extLst>
            </p:cNvPr>
            <p:cNvSpPr/>
            <p:nvPr/>
          </p:nvSpPr>
          <p:spPr>
            <a:xfrm>
              <a:off x="4654382" y="8663302"/>
              <a:ext cx="2169160" cy="442595"/>
            </a:xfrm>
            <a:custGeom>
              <a:avLst/>
              <a:gdLst/>
              <a:ahLst/>
              <a:cxnLst/>
              <a:rect l="l" t="t" r="r" b="b"/>
              <a:pathLst>
                <a:path w="2169159" h="442595">
                  <a:moveTo>
                    <a:pt x="2129139" y="0"/>
                  </a:moveTo>
                  <a:lnTo>
                    <a:pt x="0" y="410437"/>
                  </a:lnTo>
                  <a:lnTo>
                    <a:pt x="19130" y="442080"/>
                  </a:lnTo>
                  <a:lnTo>
                    <a:pt x="2141777" y="293970"/>
                  </a:lnTo>
                  <a:lnTo>
                    <a:pt x="2168991" y="216066"/>
                  </a:lnTo>
                  <a:lnTo>
                    <a:pt x="2129139" y="0"/>
                  </a:lnTo>
                  <a:close/>
                </a:path>
              </a:pathLst>
            </a:custGeom>
            <a:solidFill>
              <a:srgbClr val="111B1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object 294">
              <a:extLst>
                <a:ext uri="{FF2B5EF4-FFF2-40B4-BE49-F238E27FC236}">
                  <a16:creationId xmlns:a16="http://schemas.microsoft.com/office/drawing/2014/main" id="{74329C37-97AF-4CE7-B806-E8A5E0C82B42}"/>
                </a:ext>
              </a:extLst>
            </p:cNvPr>
            <p:cNvSpPr/>
            <p:nvPr/>
          </p:nvSpPr>
          <p:spPr>
            <a:xfrm>
              <a:off x="4654392" y="6293333"/>
              <a:ext cx="2662555" cy="2780665"/>
            </a:xfrm>
            <a:custGeom>
              <a:avLst/>
              <a:gdLst/>
              <a:ahLst/>
              <a:cxnLst/>
              <a:rect l="l" t="t" r="r" b="b"/>
              <a:pathLst>
                <a:path w="2662554" h="2780665">
                  <a:moveTo>
                    <a:pt x="2613019" y="0"/>
                  </a:moveTo>
                  <a:lnTo>
                    <a:pt x="742218" y="1117965"/>
                  </a:lnTo>
                  <a:lnTo>
                    <a:pt x="0" y="2780407"/>
                  </a:lnTo>
                  <a:lnTo>
                    <a:pt x="2168981" y="2586036"/>
                  </a:lnTo>
                  <a:lnTo>
                    <a:pt x="2662379" y="9664"/>
                  </a:lnTo>
                  <a:lnTo>
                    <a:pt x="2613019" y="0"/>
                  </a:lnTo>
                  <a:close/>
                </a:path>
              </a:pathLst>
            </a:custGeom>
            <a:solidFill>
              <a:srgbClr val="3D4E57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object 295">
              <a:extLst>
                <a:ext uri="{FF2B5EF4-FFF2-40B4-BE49-F238E27FC236}">
                  <a16:creationId xmlns:a16="http://schemas.microsoft.com/office/drawing/2014/main" id="{B65AE33D-BCED-4DFE-8BF5-8AD387AE5719}"/>
                </a:ext>
              </a:extLst>
            </p:cNvPr>
            <p:cNvSpPr/>
            <p:nvPr/>
          </p:nvSpPr>
          <p:spPr>
            <a:xfrm>
              <a:off x="4640489" y="6293330"/>
              <a:ext cx="2626995" cy="2761615"/>
            </a:xfrm>
            <a:custGeom>
              <a:avLst/>
              <a:gdLst/>
              <a:ahLst/>
              <a:cxnLst/>
              <a:rect l="l" t="t" r="r" b="b"/>
              <a:pathLst>
                <a:path w="2626995" h="2761615">
                  <a:moveTo>
                    <a:pt x="2334620" y="1502624"/>
                  </a:moveTo>
                  <a:lnTo>
                    <a:pt x="275782" y="2143191"/>
                  </a:lnTo>
                  <a:lnTo>
                    <a:pt x="0" y="2761371"/>
                  </a:lnTo>
                  <a:lnTo>
                    <a:pt x="2131275" y="2547849"/>
                  </a:lnTo>
                  <a:lnTo>
                    <a:pt x="2334620" y="1502624"/>
                  </a:lnTo>
                  <a:close/>
                </a:path>
                <a:path w="2626995" h="2761615">
                  <a:moveTo>
                    <a:pt x="2498133" y="661697"/>
                  </a:moveTo>
                  <a:lnTo>
                    <a:pt x="524214" y="1586527"/>
                  </a:lnTo>
                  <a:lnTo>
                    <a:pt x="288305" y="2115296"/>
                  </a:lnTo>
                  <a:lnTo>
                    <a:pt x="2343248" y="1458290"/>
                  </a:lnTo>
                  <a:lnTo>
                    <a:pt x="2498133" y="661697"/>
                  </a:lnTo>
                  <a:close/>
                </a:path>
                <a:path w="2626995" h="2761615">
                  <a:moveTo>
                    <a:pt x="2626925" y="0"/>
                  </a:moveTo>
                  <a:lnTo>
                    <a:pt x="739035" y="1105034"/>
                  </a:lnTo>
                  <a:lnTo>
                    <a:pt x="534936" y="1562486"/>
                  </a:lnTo>
                  <a:lnTo>
                    <a:pt x="2504866" y="627289"/>
                  </a:lnTo>
                  <a:lnTo>
                    <a:pt x="2626925" y="0"/>
                  </a:lnTo>
                  <a:close/>
                </a:path>
              </a:pathLst>
            </a:custGeom>
            <a:solidFill>
              <a:srgbClr val="E2E4ED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object 296">
              <a:extLst>
                <a:ext uri="{FF2B5EF4-FFF2-40B4-BE49-F238E27FC236}">
                  <a16:creationId xmlns:a16="http://schemas.microsoft.com/office/drawing/2014/main" id="{5E2A3692-43BB-49C9-9AFC-495D0430DDAD}"/>
                </a:ext>
              </a:extLst>
            </p:cNvPr>
            <p:cNvSpPr/>
            <p:nvPr/>
          </p:nvSpPr>
          <p:spPr>
            <a:xfrm>
              <a:off x="4691810" y="6388247"/>
              <a:ext cx="2492375" cy="2628900"/>
            </a:xfrm>
            <a:custGeom>
              <a:avLst/>
              <a:gdLst/>
              <a:ahLst/>
              <a:cxnLst/>
              <a:rect l="l" t="t" r="r" b="b"/>
              <a:pathLst>
                <a:path w="2492375" h="2628900">
                  <a:moveTo>
                    <a:pt x="182151" y="2476500"/>
                  </a:moveTo>
                  <a:lnTo>
                    <a:pt x="77959" y="2488330"/>
                  </a:lnTo>
                  <a:lnTo>
                    <a:pt x="74133" y="2489200"/>
                  </a:lnTo>
                  <a:lnTo>
                    <a:pt x="70301" y="2489200"/>
                  </a:lnTo>
                  <a:lnTo>
                    <a:pt x="49621" y="2514600"/>
                  </a:lnTo>
                  <a:lnTo>
                    <a:pt x="0" y="2616200"/>
                  </a:lnTo>
                  <a:lnTo>
                    <a:pt x="7329" y="2628900"/>
                  </a:lnTo>
                  <a:lnTo>
                    <a:pt x="118457" y="2628900"/>
                  </a:lnTo>
                  <a:lnTo>
                    <a:pt x="140801" y="2603500"/>
                  </a:lnTo>
                  <a:lnTo>
                    <a:pt x="191062" y="2489200"/>
                  </a:lnTo>
                  <a:lnTo>
                    <a:pt x="74133" y="2489200"/>
                  </a:lnTo>
                  <a:lnTo>
                    <a:pt x="73886" y="2488792"/>
                  </a:lnTo>
                  <a:lnTo>
                    <a:pt x="190776" y="2488792"/>
                  </a:lnTo>
                  <a:lnTo>
                    <a:pt x="182151" y="2476500"/>
                  </a:lnTo>
                  <a:close/>
                </a:path>
                <a:path w="2492375" h="2628900">
                  <a:moveTo>
                    <a:pt x="348010" y="2451100"/>
                  </a:moveTo>
                  <a:lnTo>
                    <a:pt x="230350" y="2463025"/>
                  </a:lnTo>
                  <a:lnTo>
                    <a:pt x="226527" y="2463800"/>
                  </a:lnTo>
                  <a:lnTo>
                    <a:pt x="222705" y="2463800"/>
                  </a:lnTo>
                  <a:lnTo>
                    <a:pt x="200287" y="2489200"/>
                  </a:lnTo>
                  <a:lnTo>
                    <a:pt x="149869" y="2603500"/>
                  </a:lnTo>
                  <a:lnTo>
                    <a:pt x="158885" y="2616200"/>
                  </a:lnTo>
                  <a:lnTo>
                    <a:pt x="283719" y="2603500"/>
                  </a:lnTo>
                  <a:lnTo>
                    <a:pt x="308063" y="2590800"/>
                  </a:lnTo>
                  <a:lnTo>
                    <a:pt x="358962" y="2463800"/>
                  </a:lnTo>
                  <a:lnTo>
                    <a:pt x="226527" y="2463800"/>
                  </a:lnTo>
                  <a:lnTo>
                    <a:pt x="226261" y="2463439"/>
                  </a:lnTo>
                  <a:lnTo>
                    <a:pt x="358652" y="2463439"/>
                  </a:lnTo>
                  <a:lnTo>
                    <a:pt x="348010" y="2451100"/>
                  </a:lnTo>
                  <a:close/>
                </a:path>
                <a:path w="2492375" h="2628900">
                  <a:moveTo>
                    <a:pt x="535250" y="2413000"/>
                  </a:moveTo>
                  <a:lnTo>
                    <a:pt x="393631" y="2438400"/>
                  </a:lnTo>
                  <a:lnTo>
                    <a:pt x="369161" y="2463800"/>
                  </a:lnTo>
                  <a:lnTo>
                    <a:pt x="318367" y="2578100"/>
                  </a:lnTo>
                  <a:lnTo>
                    <a:pt x="329298" y="2603500"/>
                  </a:lnTo>
                  <a:lnTo>
                    <a:pt x="470509" y="2578100"/>
                  </a:lnTo>
                  <a:lnTo>
                    <a:pt x="497367" y="2565400"/>
                  </a:lnTo>
                  <a:lnTo>
                    <a:pt x="548391" y="2425700"/>
                  </a:lnTo>
                  <a:lnTo>
                    <a:pt x="535250" y="2413000"/>
                  </a:lnTo>
                  <a:close/>
                </a:path>
                <a:path w="2492375" h="2628900">
                  <a:moveTo>
                    <a:pt x="748008" y="2387600"/>
                  </a:moveTo>
                  <a:lnTo>
                    <a:pt x="586935" y="2413000"/>
                  </a:lnTo>
                  <a:lnTo>
                    <a:pt x="560045" y="2425700"/>
                  </a:lnTo>
                  <a:lnTo>
                    <a:pt x="508895" y="2565400"/>
                  </a:lnTo>
                  <a:lnTo>
                    <a:pt x="522308" y="2578100"/>
                  </a:lnTo>
                  <a:lnTo>
                    <a:pt x="683539" y="2565400"/>
                  </a:lnTo>
                  <a:lnTo>
                    <a:pt x="713203" y="2540000"/>
                  </a:lnTo>
                  <a:lnTo>
                    <a:pt x="764070" y="2400300"/>
                  </a:lnTo>
                  <a:lnTo>
                    <a:pt x="748008" y="2387600"/>
                  </a:lnTo>
                  <a:close/>
                </a:path>
                <a:path w="2492375" h="2628900">
                  <a:moveTo>
                    <a:pt x="992022" y="2336800"/>
                  </a:moveTo>
                  <a:lnTo>
                    <a:pt x="807127" y="2374900"/>
                  </a:lnTo>
                  <a:lnTo>
                    <a:pt x="777316" y="2400300"/>
                  </a:lnTo>
                  <a:lnTo>
                    <a:pt x="726490" y="2540000"/>
                  </a:lnTo>
                  <a:lnTo>
                    <a:pt x="742867" y="2552700"/>
                  </a:lnTo>
                  <a:lnTo>
                    <a:pt x="928547" y="2527300"/>
                  </a:lnTo>
                  <a:lnTo>
                    <a:pt x="961740" y="2501900"/>
                  </a:lnTo>
                  <a:lnTo>
                    <a:pt x="1011728" y="2362200"/>
                  </a:lnTo>
                  <a:lnTo>
                    <a:pt x="992022" y="2336800"/>
                  </a:lnTo>
                  <a:close/>
                </a:path>
                <a:path w="2492375" h="2628900">
                  <a:moveTo>
                    <a:pt x="1274777" y="2298700"/>
                  </a:moveTo>
                  <a:lnTo>
                    <a:pt x="1071475" y="2322773"/>
                  </a:lnTo>
                  <a:lnTo>
                    <a:pt x="1064009" y="2324100"/>
                  </a:lnTo>
                  <a:lnTo>
                    <a:pt x="1060271" y="2324100"/>
                  </a:lnTo>
                  <a:lnTo>
                    <a:pt x="1027026" y="2349500"/>
                  </a:lnTo>
                  <a:lnTo>
                    <a:pt x="977143" y="2501900"/>
                  </a:lnTo>
                  <a:lnTo>
                    <a:pt x="997278" y="2527300"/>
                  </a:lnTo>
                  <a:lnTo>
                    <a:pt x="1213449" y="2501900"/>
                  </a:lnTo>
                  <a:lnTo>
                    <a:pt x="1250789" y="2476500"/>
                  </a:lnTo>
                  <a:lnTo>
                    <a:pt x="1295279" y="2324100"/>
                  </a:lnTo>
                  <a:lnTo>
                    <a:pt x="1064009" y="2324100"/>
                  </a:lnTo>
                  <a:lnTo>
                    <a:pt x="1063686" y="2323695"/>
                  </a:lnTo>
                  <a:lnTo>
                    <a:pt x="1295397" y="2323695"/>
                  </a:lnTo>
                  <a:lnTo>
                    <a:pt x="1298986" y="2311400"/>
                  </a:lnTo>
                  <a:lnTo>
                    <a:pt x="1274777" y="2298700"/>
                  </a:lnTo>
                  <a:close/>
                </a:path>
                <a:path w="2492375" h="2628900">
                  <a:moveTo>
                    <a:pt x="77959" y="2488330"/>
                  </a:moveTo>
                  <a:lnTo>
                    <a:pt x="73886" y="2488792"/>
                  </a:lnTo>
                  <a:lnTo>
                    <a:pt x="74133" y="2489200"/>
                  </a:lnTo>
                  <a:lnTo>
                    <a:pt x="77959" y="2488330"/>
                  </a:lnTo>
                  <a:close/>
                </a:path>
                <a:path w="2492375" h="2628900">
                  <a:moveTo>
                    <a:pt x="1606244" y="2235200"/>
                  </a:moveTo>
                  <a:lnTo>
                    <a:pt x="1354440" y="2286000"/>
                  </a:lnTo>
                  <a:lnTo>
                    <a:pt x="1316891" y="2311400"/>
                  </a:lnTo>
                  <a:lnTo>
                    <a:pt x="1268872" y="2476500"/>
                  </a:lnTo>
                  <a:lnTo>
                    <a:pt x="1293866" y="2489200"/>
                  </a:lnTo>
                  <a:lnTo>
                    <a:pt x="1548790" y="2463800"/>
                  </a:lnTo>
                  <a:lnTo>
                    <a:pt x="1591438" y="2438400"/>
                  </a:lnTo>
                  <a:lnTo>
                    <a:pt x="1636452" y="2260600"/>
                  </a:lnTo>
                  <a:lnTo>
                    <a:pt x="1606244" y="2235200"/>
                  </a:lnTo>
                  <a:close/>
                </a:path>
                <a:path w="2492375" h="2628900">
                  <a:moveTo>
                    <a:pt x="247186" y="2324100"/>
                  </a:moveTo>
                  <a:lnTo>
                    <a:pt x="134760" y="2349500"/>
                  </a:lnTo>
                  <a:lnTo>
                    <a:pt x="114289" y="2362200"/>
                  </a:lnTo>
                  <a:lnTo>
                    <a:pt x="66416" y="2476500"/>
                  </a:lnTo>
                  <a:lnTo>
                    <a:pt x="73886" y="2488792"/>
                  </a:lnTo>
                  <a:lnTo>
                    <a:pt x="77959" y="2488330"/>
                  </a:lnTo>
                  <a:lnTo>
                    <a:pt x="185889" y="2463800"/>
                  </a:lnTo>
                  <a:lnTo>
                    <a:pt x="208056" y="2451100"/>
                  </a:lnTo>
                  <a:lnTo>
                    <a:pt x="256494" y="2336800"/>
                  </a:lnTo>
                  <a:lnTo>
                    <a:pt x="247186" y="2324100"/>
                  </a:lnTo>
                  <a:close/>
                </a:path>
                <a:path w="2492375" h="2628900">
                  <a:moveTo>
                    <a:pt x="230350" y="2463025"/>
                  </a:moveTo>
                  <a:lnTo>
                    <a:pt x="226261" y="2463439"/>
                  </a:lnTo>
                  <a:lnTo>
                    <a:pt x="226527" y="2463800"/>
                  </a:lnTo>
                  <a:lnTo>
                    <a:pt x="230350" y="2463025"/>
                  </a:lnTo>
                  <a:close/>
                </a:path>
                <a:path w="2492375" h="2628900">
                  <a:moveTo>
                    <a:pt x="413610" y="2286000"/>
                  </a:moveTo>
                  <a:lnTo>
                    <a:pt x="287907" y="2311400"/>
                  </a:lnTo>
                  <a:lnTo>
                    <a:pt x="265552" y="2336800"/>
                  </a:lnTo>
                  <a:lnTo>
                    <a:pt x="217166" y="2451100"/>
                  </a:lnTo>
                  <a:lnTo>
                    <a:pt x="226261" y="2463439"/>
                  </a:lnTo>
                  <a:lnTo>
                    <a:pt x="230350" y="2463025"/>
                  </a:lnTo>
                  <a:lnTo>
                    <a:pt x="351853" y="2438400"/>
                  </a:lnTo>
                  <a:lnTo>
                    <a:pt x="376019" y="2413000"/>
                  </a:lnTo>
                  <a:lnTo>
                    <a:pt x="424824" y="2298700"/>
                  </a:lnTo>
                  <a:lnTo>
                    <a:pt x="413610" y="2286000"/>
                  </a:lnTo>
                  <a:close/>
                </a:path>
                <a:path w="2492375" h="2628900">
                  <a:moveTo>
                    <a:pt x="2000190" y="2171700"/>
                  </a:moveTo>
                  <a:lnTo>
                    <a:pt x="1700367" y="2222500"/>
                  </a:lnTo>
                  <a:lnTo>
                    <a:pt x="1657520" y="2260600"/>
                  </a:lnTo>
                  <a:lnTo>
                    <a:pt x="1612757" y="2425700"/>
                  </a:lnTo>
                  <a:lnTo>
                    <a:pt x="1644243" y="2451100"/>
                  </a:lnTo>
                  <a:lnTo>
                    <a:pt x="1949333" y="2413000"/>
                  </a:lnTo>
                  <a:lnTo>
                    <a:pt x="1998661" y="2387600"/>
                  </a:lnTo>
                  <a:lnTo>
                    <a:pt x="2038178" y="2197100"/>
                  </a:lnTo>
                  <a:lnTo>
                    <a:pt x="2000190" y="2171700"/>
                  </a:lnTo>
                  <a:close/>
                </a:path>
                <a:path w="2492375" h="2628900">
                  <a:moveTo>
                    <a:pt x="600986" y="2247900"/>
                  </a:moveTo>
                  <a:lnTo>
                    <a:pt x="470585" y="2271276"/>
                  </a:lnTo>
                  <a:lnTo>
                    <a:pt x="463064" y="2273300"/>
                  </a:lnTo>
                  <a:lnTo>
                    <a:pt x="459294" y="2273300"/>
                  </a:lnTo>
                  <a:lnTo>
                    <a:pt x="435075" y="2298700"/>
                  </a:lnTo>
                  <a:lnTo>
                    <a:pt x="386302" y="2413000"/>
                  </a:lnTo>
                  <a:lnTo>
                    <a:pt x="397548" y="2425700"/>
                  </a:lnTo>
                  <a:lnTo>
                    <a:pt x="539051" y="2400300"/>
                  </a:lnTo>
                  <a:lnTo>
                    <a:pt x="565532" y="2387600"/>
                  </a:lnTo>
                  <a:lnTo>
                    <a:pt x="609551" y="2273300"/>
                  </a:lnTo>
                  <a:lnTo>
                    <a:pt x="463064" y="2273300"/>
                  </a:lnTo>
                  <a:lnTo>
                    <a:pt x="462536" y="2272718"/>
                  </a:lnTo>
                  <a:lnTo>
                    <a:pt x="609774" y="2272718"/>
                  </a:lnTo>
                  <a:lnTo>
                    <a:pt x="614442" y="2260600"/>
                  </a:lnTo>
                  <a:lnTo>
                    <a:pt x="600986" y="2247900"/>
                  </a:lnTo>
                  <a:close/>
                </a:path>
                <a:path w="2492375" h="2628900">
                  <a:moveTo>
                    <a:pt x="813993" y="2197580"/>
                  </a:moveTo>
                  <a:lnTo>
                    <a:pt x="806062" y="2198834"/>
                  </a:lnTo>
                  <a:lnTo>
                    <a:pt x="652671" y="2235200"/>
                  </a:lnTo>
                  <a:lnTo>
                    <a:pt x="626054" y="2260600"/>
                  </a:lnTo>
                  <a:lnTo>
                    <a:pt x="577176" y="2387600"/>
                  </a:lnTo>
                  <a:lnTo>
                    <a:pt x="590840" y="2400300"/>
                  </a:lnTo>
                  <a:lnTo>
                    <a:pt x="751830" y="2374900"/>
                  </a:lnTo>
                  <a:lnTo>
                    <a:pt x="781148" y="2349500"/>
                  </a:lnTo>
                  <a:lnTo>
                    <a:pt x="829639" y="2209800"/>
                  </a:lnTo>
                  <a:lnTo>
                    <a:pt x="813993" y="2197580"/>
                  </a:lnTo>
                  <a:close/>
                </a:path>
                <a:path w="2492375" h="2628900">
                  <a:moveTo>
                    <a:pt x="1056229" y="2146300"/>
                  </a:moveTo>
                  <a:lnTo>
                    <a:pt x="886718" y="2181406"/>
                  </a:lnTo>
                  <a:lnTo>
                    <a:pt x="875879" y="2184400"/>
                  </a:lnTo>
                  <a:lnTo>
                    <a:pt x="872266" y="2184400"/>
                  </a:lnTo>
                  <a:lnTo>
                    <a:pt x="842801" y="2209800"/>
                  </a:lnTo>
                  <a:lnTo>
                    <a:pt x="794363" y="2349500"/>
                  </a:lnTo>
                  <a:lnTo>
                    <a:pt x="810949" y="2362200"/>
                  </a:lnTo>
                  <a:lnTo>
                    <a:pt x="995823" y="2324100"/>
                  </a:lnTo>
                  <a:lnTo>
                    <a:pt x="1028439" y="2311400"/>
                  </a:lnTo>
                  <a:lnTo>
                    <a:pt x="1068107" y="2184400"/>
                  </a:lnTo>
                  <a:lnTo>
                    <a:pt x="875879" y="2184400"/>
                  </a:lnTo>
                  <a:lnTo>
                    <a:pt x="875105" y="2183812"/>
                  </a:lnTo>
                  <a:lnTo>
                    <a:pt x="1068290" y="2183812"/>
                  </a:lnTo>
                  <a:lnTo>
                    <a:pt x="1076040" y="2159000"/>
                  </a:lnTo>
                  <a:lnTo>
                    <a:pt x="1056229" y="2146300"/>
                  </a:lnTo>
                  <a:close/>
                </a:path>
                <a:path w="2492375" h="2628900">
                  <a:moveTo>
                    <a:pt x="310295" y="2172380"/>
                  </a:moveTo>
                  <a:lnTo>
                    <a:pt x="302712" y="2174086"/>
                  </a:lnTo>
                  <a:lnTo>
                    <a:pt x="196957" y="2209800"/>
                  </a:lnTo>
                  <a:lnTo>
                    <a:pt x="176528" y="2222500"/>
                  </a:lnTo>
                  <a:lnTo>
                    <a:pt x="130393" y="2324100"/>
                  </a:lnTo>
                  <a:lnTo>
                    <a:pt x="138425" y="2336800"/>
                  </a:lnTo>
                  <a:lnTo>
                    <a:pt x="250851" y="2311400"/>
                  </a:lnTo>
                  <a:lnTo>
                    <a:pt x="272797" y="2298700"/>
                  </a:lnTo>
                  <a:lnTo>
                    <a:pt x="319382" y="2184400"/>
                  </a:lnTo>
                  <a:lnTo>
                    <a:pt x="310295" y="2172380"/>
                  </a:lnTo>
                  <a:close/>
                </a:path>
                <a:path w="2492375" h="2628900">
                  <a:moveTo>
                    <a:pt x="1071475" y="2322773"/>
                  </a:moveTo>
                  <a:lnTo>
                    <a:pt x="1063686" y="2323695"/>
                  </a:lnTo>
                  <a:lnTo>
                    <a:pt x="1064009" y="2324100"/>
                  </a:lnTo>
                  <a:lnTo>
                    <a:pt x="1071475" y="2322773"/>
                  </a:lnTo>
                  <a:close/>
                </a:path>
                <a:path w="2492375" h="2628900">
                  <a:moveTo>
                    <a:pt x="1336639" y="2095500"/>
                  </a:moveTo>
                  <a:lnTo>
                    <a:pt x="1123997" y="2133600"/>
                  </a:lnTo>
                  <a:lnTo>
                    <a:pt x="1091244" y="2159000"/>
                  </a:lnTo>
                  <a:lnTo>
                    <a:pt x="1043716" y="2298700"/>
                  </a:lnTo>
                  <a:lnTo>
                    <a:pt x="1063686" y="2323695"/>
                  </a:lnTo>
                  <a:lnTo>
                    <a:pt x="1071475" y="2322773"/>
                  </a:lnTo>
                  <a:lnTo>
                    <a:pt x="1278421" y="2286000"/>
                  </a:lnTo>
                  <a:lnTo>
                    <a:pt x="1315174" y="2260600"/>
                  </a:lnTo>
                  <a:lnTo>
                    <a:pt x="1360838" y="2108200"/>
                  </a:lnTo>
                  <a:lnTo>
                    <a:pt x="1336639" y="2095500"/>
                  </a:lnTo>
                  <a:close/>
                </a:path>
                <a:path w="2492375" h="2628900">
                  <a:moveTo>
                    <a:pt x="476645" y="2133600"/>
                  </a:moveTo>
                  <a:lnTo>
                    <a:pt x="361271" y="2156864"/>
                  </a:lnTo>
                  <a:lnTo>
                    <a:pt x="354209" y="2159000"/>
                  </a:lnTo>
                  <a:lnTo>
                    <a:pt x="350680" y="2159000"/>
                  </a:lnTo>
                  <a:lnTo>
                    <a:pt x="328555" y="2184400"/>
                  </a:lnTo>
                  <a:lnTo>
                    <a:pt x="281949" y="2298700"/>
                  </a:lnTo>
                  <a:lnTo>
                    <a:pt x="291593" y="2298700"/>
                  </a:lnTo>
                  <a:lnTo>
                    <a:pt x="417348" y="2273300"/>
                  </a:lnTo>
                  <a:lnTo>
                    <a:pt x="441284" y="2260600"/>
                  </a:lnTo>
                  <a:lnTo>
                    <a:pt x="482889" y="2159000"/>
                  </a:lnTo>
                  <a:lnTo>
                    <a:pt x="354209" y="2159000"/>
                  </a:lnTo>
                  <a:lnTo>
                    <a:pt x="353733" y="2158384"/>
                  </a:lnTo>
                  <a:lnTo>
                    <a:pt x="483141" y="2158384"/>
                  </a:lnTo>
                  <a:lnTo>
                    <a:pt x="488089" y="2146300"/>
                  </a:lnTo>
                  <a:lnTo>
                    <a:pt x="476645" y="2133600"/>
                  </a:lnTo>
                  <a:close/>
                </a:path>
                <a:path w="2492375" h="2628900">
                  <a:moveTo>
                    <a:pt x="470585" y="2271276"/>
                  </a:moveTo>
                  <a:lnTo>
                    <a:pt x="462536" y="2272718"/>
                  </a:lnTo>
                  <a:lnTo>
                    <a:pt x="463064" y="2273300"/>
                  </a:lnTo>
                  <a:lnTo>
                    <a:pt x="470585" y="2271276"/>
                  </a:lnTo>
                  <a:close/>
                </a:path>
                <a:path w="2492375" h="2628900">
                  <a:moveTo>
                    <a:pt x="1663928" y="2019300"/>
                  </a:moveTo>
                  <a:lnTo>
                    <a:pt x="1415339" y="2070100"/>
                  </a:lnTo>
                  <a:lnTo>
                    <a:pt x="1378492" y="2095500"/>
                  </a:lnTo>
                  <a:lnTo>
                    <a:pt x="1332985" y="2247900"/>
                  </a:lnTo>
                  <a:lnTo>
                    <a:pt x="1358011" y="2273300"/>
                  </a:lnTo>
                  <a:lnTo>
                    <a:pt x="1609615" y="2222500"/>
                  </a:lnTo>
                  <a:lnTo>
                    <a:pt x="1651478" y="2197100"/>
                  </a:lnTo>
                  <a:lnTo>
                    <a:pt x="1693833" y="2032000"/>
                  </a:lnTo>
                  <a:lnTo>
                    <a:pt x="1663928" y="2019300"/>
                  </a:lnTo>
                  <a:close/>
                </a:path>
                <a:path w="2492375" h="2628900">
                  <a:moveTo>
                    <a:pt x="664021" y="2082800"/>
                  </a:moveTo>
                  <a:lnTo>
                    <a:pt x="522465" y="2120900"/>
                  </a:lnTo>
                  <a:lnTo>
                    <a:pt x="498351" y="2146300"/>
                  </a:lnTo>
                  <a:lnTo>
                    <a:pt x="451525" y="2260600"/>
                  </a:lnTo>
                  <a:lnTo>
                    <a:pt x="462536" y="2272718"/>
                  </a:lnTo>
                  <a:lnTo>
                    <a:pt x="470585" y="2271276"/>
                  </a:lnTo>
                  <a:lnTo>
                    <a:pt x="604641" y="2235200"/>
                  </a:lnTo>
                  <a:lnTo>
                    <a:pt x="630860" y="2222500"/>
                  </a:lnTo>
                  <a:lnTo>
                    <a:pt x="677717" y="2095500"/>
                  </a:lnTo>
                  <a:lnTo>
                    <a:pt x="664021" y="2082800"/>
                  </a:lnTo>
                  <a:close/>
                </a:path>
                <a:path w="2492375" h="2628900">
                  <a:moveTo>
                    <a:pt x="875879" y="2032000"/>
                  </a:moveTo>
                  <a:lnTo>
                    <a:pt x="715622" y="2070100"/>
                  </a:lnTo>
                  <a:lnTo>
                    <a:pt x="689308" y="2095500"/>
                  </a:lnTo>
                  <a:lnTo>
                    <a:pt x="642441" y="2209800"/>
                  </a:lnTo>
                  <a:lnTo>
                    <a:pt x="656377" y="2222500"/>
                  </a:lnTo>
                  <a:lnTo>
                    <a:pt x="806062" y="2198834"/>
                  </a:lnTo>
                  <a:lnTo>
                    <a:pt x="813378" y="2197100"/>
                  </a:lnTo>
                  <a:lnTo>
                    <a:pt x="817032" y="2197100"/>
                  </a:lnTo>
                  <a:lnTo>
                    <a:pt x="845942" y="2171700"/>
                  </a:lnTo>
                  <a:lnTo>
                    <a:pt x="892339" y="2044700"/>
                  </a:lnTo>
                  <a:lnTo>
                    <a:pt x="875879" y="2032000"/>
                  </a:lnTo>
                  <a:close/>
                </a:path>
                <a:path w="2492375" h="2628900">
                  <a:moveTo>
                    <a:pt x="2051016" y="1930400"/>
                  </a:moveTo>
                  <a:lnTo>
                    <a:pt x="1756511" y="1993900"/>
                  </a:lnTo>
                  <a:lnTo>
                    <a:pt x="1714628" y="2032000"/>
                  </a:lnTo>
                  <a:lnTo>
                    <a:pt x="1672493" y="2197100"/>
                  </a:lnTo>
                  <a:lnTo>
                    <a:pt x="1703696" y="2209800"/>
                  </a:lnTo>
                  <a:lnTo>
                    <a:pt x="2003216" y="2159000"/>
                  </a:lnTo>
                  <a:lnTo>
                    <a:pt x="2051351" y="2133600"/>
                  </a:lnTo>
                  <a:lnTo>
                    <a:pt x="2088491" y="1955800"/>
                  </a:lnTo>
                  <a:lnTo>
                    <a:pt x="2051016" y="1930400"/>
                  </a:lnTo>
                  <a:close/>
                </a:path>
                <a:path w="2492375" h="2628900">
                  <a:moveTo>
                    <a:pt x="813378" y="2197100"/>
                  </a:moveTo>
                  <a:lnTo>
                    <a:pt x="806062" y="2198834"/>
                  </a:lnTo>
                  <a:lnTo>
                    <a:pt x="813993" y="2197580"/>
                  </a:lnTo>
                  <a:lnTo>
                    <a:pt x="813378" y="2197100"/>
                  </a:lnTo>
                  <a:close/>
                </a:path>
                <a:path w="2492375" h="2628900">
                  <a:moveTo>
                    <a:pt x="817032" y="2197100"/>
                  </a:moveTo>
                  <a:lnTo>
                    <a:pt x="813378" y="2197100"/>
                  </a:lnTo>
                  <a:lnTo>
                    <a:pt x="813993" y="2197580"/>
                  </a:lnTo>
                  <a:lnTo>
                    <a:pt x="817032" y="2197100"/>
                  </a:lnTo>
                  <a:close/>
                </a:path>
                <a:path w="2492375" h="2628900">
                  <a:moveTo>
                    <a:pt x="370145" y="2032000"/>
                  </a:moveTo>
                  <a:lnTo>
                    <a:pt x="257007" y="2070100"/>
                  </a:lnTo>
                  <a:lnTo>
                    <a:pt x="236704" y="2082800"/>
                  </a:lnTo>
                  <a:lnTo>
                    <a:pt x="192109" y="2184400"/>
                  </a:lnTo>
                  <a:lnTo>
                    <a:pt x="200444" y="2197100"/>
                  </a:lnTo>
                  <a:lnTo>
                    <a:pt x="302712" y="2174086"/>
                  </a:lnTo>
                  <a:lnTo>
                    <a:pt x="309781" y="2171700"/>
                  </a:lnTo>
                  <a:lnTo>
                    <a:pt x="313320" y="2171700"/>
                  </a:lnTo>
                  <a:lnTo>
                    <a:pt x="335141" y="2146300"/>
                  </a:lnTo>
                  <a:lnTo>
                    <a:pt x="380040" y="2044700"/>
                  </a:lnTo>
                  <a:lnTo>
                    <a:pt x="370145" y="2032000"/>
                  </a:lnTo>
                  <a:close/>
                </a:path>
                <a:path w="2492375" h="2628900">
                  <a:moveTo>
                    <a:pt x="886718" y="2181406"/>
                  </a:moveTo>
                  <a:lnTo>
                    <a:pt x="875105" y="2183812"/>
                  </a:lnTo>
                  <a:lnTo>
                    <a:pt x="875879" y="2184400"/>
                  </a:lnTo>
                  <a:lnTo>
                    <a:pt x="886718" y="2181406"/>
                  </a:lnTo>
                  <a:close/>
                </a:path>
                <a:path w="2492375" h="2628900">
                  <a:moveTo>
                    <a:pt x="1117390" y="1968500"/>
                  </a:moveTo>
                  <a:lnTo>
                    <a:pt x="934557" y="2019300"/>
                  </a:lnTo>
                  <a:lnTo>
                    <a:pt x="905490" y="2032000"/>
                  </a:lnTo>
                  <a:lnTo>
                    <a:pt x="859157" y="2171700"/>
                  </a:lnTo>
                  <a:lnTo>
                    <a:pt x="875105" y="2183812"/>
                  </a:lnTo>
                  <a:lnTo>
                    <a:pt x="886718" y="2181406"/>
                  </a:lnTo>
                  <a:lnTo>
                    <a:pt x="1059852" y="2133600"/>
                  </a:lnTo>
                  <a:lnTo>
                    <a:pt x="1091914" y="2108200"/>
                  </a:lnTo>
                  <a:lnTo>
                    <a:pt x="1137295" y="1981200"/>
                  </a:lnTo>
                  <a:lnTo>
                    <a:pt x="1117390" y="1968500"/>
                  </a:lnTo>
                  <a:close/>
                </a:path>
                <a:path w="2492375" h="2628900">
                  <a:moveTo>
                    <a:pt x="309781" y="2171700"/>
                  </a:moveTo>
                  <a:lnTo>
                    <a:pt x="302712" y="2174086"/>
                  </a:lnTo>
                  <a:lnTo>
                    <a:pt x="310295" y="2172380"/>
                  </a:lnTo>
                  <a:lnTo>
                    <a:pt x="309781" y="2171700"/>
                  </a:lnTo>
                  <a:close/>
                </a:path>
                <a:path w="2492375" h="2628900">
                  <a:moveTo>
                    <a:pt x="313320" y="2171700"/>
                  </a:moveTo>
                  <a:lnTo>
                    <a:pt x="309781" y="2171700"/>
                  </a:lnTo>
                  <a:lnTo>
                    <a:pt x="310295" y="2172380"/>
                  </a:lnTo>
                  <a:lnTo>
                    <a:pt x="313320" y="2171700"/>
                  </a:lnTo>
                  <a:close/>
                </a:path>
                <a:path w="2492375" h="2628900">
                  <a:moveTo>
                    <a:pt x="361271" y="2156864"/>
                  </a:moveTo>
                  <a:lnTo>
                    <a:pt x="353733" y="2158384"/>
                  </a:lnTo>
                  <a:lnTo>
                    <a:pt x="354209" y="2159000"/>
                  </a:lnTo>
                  <a:lnTo>
                    <a:pt x="361271" y="2156864"/>
                  </a:lnTo>
                  <a:close/>
                </a:path>
                <a:path w="2492375" h="2628900">
                  <a:moveTo>
                    <a:pt x="537292" y="1981200"/>
                  </a:moveTo>
                  <a:lnTo>
                    <a:pt x="411170" y="2019300"/>
                  </a:lnTo>
                  <a:lnTo>
                    <a:pt x="389276" y="2044700"/>
                  </a:lnTo>
                  <a:lnTo>
                    <a:pt x="344387" y="2146300"/>
                  </a:lnTo>
                  <a:lnTo>
                    <a:pt x="353733" y="2158384"/>
                  </a:lnTo>
                  <a:lnTo>
                    <a:pt x="361271" y="2156864"/>
                  </a:lnTo>
                  <a:lnTo>
                    <a:pt x="480205" y="2120900"/>
                  </a:lnTo>
                  <a:lnTo>
                    <a:pt x="503848" y="2108200"/>
                  </a:lnTo>
                  <a:lnTo>
                    <a:pt x="549009" y="1993900"/>
                  </a:lnTo>
                  <a:lnTo>
                    <a:pt x="537292" y="1981200"/>
                  </a:lnTo>
                  <a:close/>
                </a:path>
                <a:path w="2492375" h="2628900">
                  <a:moveTo>
                    <a:pt x="1395276" y="1892300"/>
                  </a:moveTo>
                  <a:lnTo>
                    <a:pt x="1201765" y="1938970"/>
                  </a:lnTo>
                  <a:lnTo>
                    <a:pt x="1188079" y="1943100"/>
                  </a:lnTo>
                  <a:lnTo>
                    <a:pt x="1184644" y="1943100"/>
                  </a:lnTo>
                  <a:lnTo>
                    <a:pt x="1152404" y="1968500"/>
                  </a:lnTo>
                  <a:lnTo>
                    <a:pt x="1107139" y="2108200"/>
                  </a:lnTo>
                  <a:lnTo>
                    <a:pt x="1127525" y="2120900"/>
                  </a:lnTo>
                  <a:lnTo>
                    <a:pt x="1340022" y="2082800"/>
                  </a:lnTo>
                  <a:lnTo>
                    <a:pt x="1376094" y="2057400"/>
                  </a:lnTo>
                  <a:lnTo>
                    <a:pt x="1408637" y="1943100"/>
                  </a:lnTo>
                  <a:lnTo>
                    <a:pt x="1188079" y="1943100"/>
                  </a:lnTo>
                  <a:lnTo>
                    <a:pt x="1187116" y="1942503"/>
                  </a:lnTo>
                  <a:lnTo>
                    <a:pt x="1408807" y="1942503"/>
                  </a:lnTo>
                  <a:lnTo>
                    <a:pt x="1419485" y="1905000"/>
                  </a:lnTo>
                  <a:lnTo>
                    <a:pt x="1395276" y="1892300"/>
                  </a:lnTo>
                  <a:close/>
                </a:path>
                <a:path w="2492375" h="2628900">
                  <a:moveTo>
                    <a:pt x="724480" y="1930400"/>
                  </a:moveTo>
                  <a:lnTo>
                    <a:pt x="583102" y="1968500"/>
                  </a:lnTo>
                  <a:lnTo>
                    <a:pt x="559312" y="1993900"/>
                  </a:lnTo>
                  <a:lnTo>
                    <a:pt x="514172" y="2095500"/>
                  </a:lnTo>
                  <a:lnTo>
                    <a:pt x="526015" y="2108200"/>
                  </a:lnTo>
                  <a:lnTo>
                    <a:pt x="667560" y="2070100"/>
                  </a:lnTo>
                  <a:lnTo>
                    <a:pt x="693486" y="2057400"/>
                  </a:lnTo>
                  <a:lnTo>
                    <a:pt x="738385" y="1943100"/>
                  </a:lnTo>
                  <a:lnTo>
                    <a:pt x="724480" y="1930400"/>
                  </a:lnTo>
                  <a:close/>
                </a:path>
                <a:path w="2492375" h="2628900">
                  <a:moveTo>
                    <a:pt x="952253" y="1866900"/>
                  </a:moveTo>
                  <a:lnTo>
                    <a:pt x="935625" y="1866900"/>
                  </a:lnTo>
                  <a:lnTo>
                    <a:pt x="776039" y="1917700"/>
                  </a:lnTo>
                  <a:lnTo>
                    <a:pt x="749966" y="1930400"/>
                  </a:lnTo>
                  <a:lnTo>
                    <a:pt x="705036" y="2044700"/>
                  </a:lnTo>
                  <a:lnTo>
                    <a:pt x="719192" y="2057400"/>
                  </a:lnTo>
                  <a:lnTo>
                    <a:pt x="879355" y="2019300"/>
                  </a:lnTo>
                  <a:lnTo>
                    <a:pt x="907909" y="1993900"/>
                  </a:lnTo>
                  <a:lnTo>
                    <a:pt x="952253" y="1866900"/>
                  </a:lnTo>
                  <a:close/>
                </a:path>
                <a:path w="2492375" h="2628900">
                  <a:moveTo>
                    <a:pt x="1748061" y="1816100"/>
                  </a:moveTo>
                  <a:lnTo>
                    <a:pt x="1718376" y="1816100"/>
                  </a:lnTo>
                  <a:lnTo>
                    <a:pt x="1473127" y="1879600"/>
                  </a:lnTo>
                  <a:lnTo>
                    <a:pt x="1436940" y="1905000"/>
                  </a:lnTo>
                  <a:lnTo>
                    <a:pt x="1393716" y="2044700"/>
                  </a:lnTo>
                  <a:lnTo>
                    <a:pt x="1418752" y="2057400"/>
                  </a:lnTo>
                  <a:lnTo>
                    <a:pt x="1667111" y="2006600"/>
                  </a:lnTo>
                  <a:lnTo>
                    <a:pt x="1707968" y="1981200"/>
                  </a:lnTo>
                  <a:lnTo>
                    <a:pt x="1748061" y="1816100"/>
                  </a:lnTo>
                  <a:close/>
                </a:path>
                <a:path w="2492375" h="2628900">
                  <a:moveTo>
                    <a:pt x="1175765" y="1790700"/>
                  </a:moveTo>
                  <a:lnTo>
                    <a:pt x="994043" y="1841500"/>
                  </a:lnTo>
                  <a:lnTo>
                    <a:pt x="965363" y="1866900"/>
                  </a:lnTo>
                  <a:lnTo>
                    <a:pt x="921102" y="1993900"/>
                  </a:lnTo>
                  <a:lnTo>
                    <a:pt x="937981" y="2006600"/>
                  </a:lnTo>
                  <a:lnTo>
                    <a:pt x="1120824" y="1955800"/>
                  </a:lnTo>
                  <a:lnTo>
                    <a:pt x="1152477" y="1930400"/>
                  </a:lnTo>
                  <a:lnTo>
                    <a:pt x="1195649" y="1803400"/>
                  </a:lnTo>
                  <a:lnTo>
                    <a:pt x="1175765" y="1790700"/>
                  </a:lnTo>
                  <a:close/>
                </a:path>
                <a:path w="2492375" h="2628900">
                  <a:moveTo>
                    <a:pt x="462282" y="1816935"/>
                  </a:moveTo>
                  <a:lnTo>
                    <a:pt x="452108" y="1820348"/>
                  </a:lnTo>
                  <a:lnTo>
                    <a:pt x="348010" y="1866900"/>
                  </a:lnTo>
                  <a:lnTo>
                    <a:pt x="328042" y="1879600"/>
                  </a:lnTo>
                  <a:lnTo>
                    <a:pt x="285771" y="1981200"/>
                  </a:lnTo>
                  <a:lnTo>
                    <a:pt x="294504" y="1981200"/>
                  </a:lnTo>
                  <a:lnTo>
                    <a:pt x="407872" y="1943100"/>
                  </a:lnTo>
                  <a:lnTo>
                    <a:pt x="429452" y="1930400"/>
                  </a:lnTo>
                  <a:lnTo>
                    <a:pt x="471849" y="1828800"/>
                  </a:lnTo>
                  <a:lnTo>
                    <a:pt x="462282" y="1816935"/>
                  </a:lnTo>
                  <a:close/>
                </a:path>
                <a:path w="2492375" h="2628900">
                  <a:moveTo>
                    <a:pt x="2098721" y="1714500"/>
                  </a:moveTo>
                  <a:lnTo>
                    <a:pt x="1809578" y="1790700"/>
                  </a:lnTo>
                  <a:lnTo>
                    <a:pt x="1768532" y="1816100"/>
                  </a:lnTo>
                  <a:lnTo>
                    <a:pt x="1728659" y="1968500"/>
                  </a:lnTo>
                  <a:lnTo>
                    <a:pt x="1759695" y="1981200"/>
                  </a:lnTo>
                  <a:lnTo>
                    <a:pt x="2053832" y="1917700"/>
                  </a:lnTo>
                  <a:lnTo>
                    <a:pt x="2100752" y="1892300"/>
                  </a:lnTo>
                  <a:lnTo>
                    <a:pt x="2135652" y="1727200"/>
                  </a:lnTo>
                  <a:lnTo>
                    <a:pt x="2098721" y="1714500"/>
                  </a:lnTo>
                  <a:close/>
                </a:path>
                <a:path w="2492375" h="2628900">
                  <a:moveTo>
                    <a:pt x="1201765" y="1938970"/>
                  </a:moveTo>
                  <a:lnTo>
                    <a:pt x="1187116" y="1942503"/>
                  </a:lnTo>
                  <a:lnTo>
                    <a:pt x="1188079" y="1943100"/>
                  </a:lnTo>
                  <a:lnTo>
                    <a:pt x="1201765" y="1938970"/>
                  </a:lnTo>
                  <a:close/>
                </a:path>
                <a:path w="2492375" h="2628900">
                  <a:moveTo>
                    <a:pt x="1451034" y="1701800"/>
                  </a:moveTo>
                  <a:lnTo>
                    <a:pt x="1242412" y="1765300"/>
                  </a:lnTo>
                  <a:lnTo>
                    <a:pt x="1210633" y="1790700"/>
                  </a:lnTo>
                  <a:lnTo>
                    <a:pt x="1167577" y="1930400"/>
                  </a:lnTo>
                  <a:lnTo>
                    <a:pt x="1187116" y="1942503"/>
                  </a:lnTo>
                  <a:lnTo>
                    <a:pt x="1201765" y="1938970"/>
                  </a:lnTo>
                  <a:lnTo>
                    <a:pt x="1398554" y="1879600"/>
                  </a:lnTo>
                  <a:lnTo>
                    <a:pt x="1433914" y="1854200"/>
                  </a:lnTo>
                  <a:lnTo>
                    <a:pt x="1475190" y="1714500"/>
                  </a:lnTo>
                  <a:lnTo>
                    <a:pt x="1451034" y="1701800"/>
                  </a:lnTo>
                  <a:close/>
                </a:path>
                <a:path w="2492375" h="2628900">
                  <a:moveTo>
                    <a:pt x="640849" y="1765300"/>
                  </a:moveTo>
                  <a:lnTo>
                    <a:pt x="628870" y="1765300"/>
                  </a:lnTo>
                  <a:lnTo>
                    <a:pt x="515360" y="1799581"/>
                  </a:lnTo>
                  <a:lnTo>
                    <a:pt x="505879" y="1803400"/>
                  </a:lnTo>
                  <a:lnTo>
                    <a:pt x="502717" y="1803400"/>
                  </a:lnTo>
                  <a:lnTo>
                    <a:pt x="481084" y="1828800"/>
                  </a:lnTo>
                  <a:lnTo>
                    <a:pt x="438614" y="1930400"/>
                  </a:lnTo>
                  <a:lnTo>
                    <a:pt x="448928" y="1930400"/>
                  </a:lnTo>
                  <a:lnTo>
                    <a:pt x="575061" y="1892300"/>
                  </a:lnTo>
                  <a:lnTo>
                    <a:pt x="598421" y="1866900"/>
                  </a:lnTo>
                  <a:lnTo>
                    <a:pt x="624939" y="1803400"/>
                  </a:lnTo>
                  <a:lnTo>
                    <a:pt x="505879" y="1803400"/>
                  </a:lnTo>
                  <a:lnTo>
                    <a:pt x="505248" y="1802635"/>
                  </a:lnTo>
                  <a:lnTo>
                    <a:pt x="625258" y="1802635"/>
                  </a:lnTo>
                  <a:lnTo>
                    <a:pt x="640849" y="1765300"/>
                  </a:lnTo>
                  <a:close/>
                </a:path>
                <a:path w="2492375" h="2628900">
                  <a:moveTo>
                    <a:pt x="816470" y="1689917"/>
                  </a:moveTo>
                  <a:lnTo>
                    <a:pt x="677780" y="1739900"/>
                  </a:lnTo>
                  <a:lnTo>
                    <a:pt x="674555" y="1739900"/>
                  </a:lnTo>
                  <a:lnTo>
                    <a:pt x="651173" y="1765300"/>
                  </a:lnTo>
                  <a:lnTo>
                    <a:pt x="608693" y="1866900"/>
                  </a:lnTo>
                  <a:lnTo>
                    <a:pt x="620902" y="1879600"/>
                  </a:lnTo>
                  <a:lnTo>
                    <a:pt x="762144" y="1828800"/>
                  </a:lnTo>
                  <a:lnTo>
                    <a:pt x="787578" y="1803400"/>
                  </a:lnTo>
                  <a:lnTo>
                    <a:pt x="813938" y="1739900"/>
                  </a:lnTo>
                  <a:lnTo>
                    <a:pt x="677780" y="1739900"/>
                  </a:lnTo>
                  <a:lnTo>
                    <a:pt x="676944" y="1739039"/>
                  </a:lnTo>
                  <a:lnTo>
                    <a:pt x="814295" y="1739039"/>
                  </a:lnTo>
                  <a:lnTo>
                    <a:pt x="829754" y="1701800"/>
                  </a:lnTo>
                  <a:lnTo>
                    <a:pt x="816470" y="1689917"/>
                  </a:lnTo>
                  <a:close/>
                </a:path>
                <a:path w="2492375" h="2628900">
                  <a:moveTo>
                    <a:pt x="1769987" y="1612900"/>
                  </a:moveTo>
                  <a:lnTo>
                    <a:pt x="1528016" y="1689100"/>
                  </a:lnTo>
                  <a:lnTo>
                    <a:pt x="1492457" y="1714500"/>
                  </a:lnTo>
                  <a:lnTo>
                    <a:pt x="1451358" y="1854200"/>
                  </a:lnTo>
                  <a:lnTo>
                    <a:pt x="1476405" y="1866900"/>
                  </a:lnTo>
                  <a:lnTo>
                    <a:pt x="1721434" y="1803400"/>
                  </a:lnTo>
                  <a:lnTo>
                    <a:pt x="1761475" y="1765300"/>
                  </a:lnTo>
                  <a:lnTo>
                    <a:pt x="1799453" y="1625600"/>
                  </a:lnTo>
                  <a:lnTo>
                    <a:pt x="1769987" y="1612900"/>
                  </a:lnTo>
                  <a:close/>
                </a:path>
                <a:path w="2492375" h="2628900">
                  <a:moveTo>
                    <a:pt x="517337" y="1689927"/>
                  </a:moveTo>
                  <a:lnTo>
                    <a:pt x="507192" y="1693328"/>
                  </a:lnTo>
                  <a:lnTo>
                    <a:pt x="402972" y="1739900"/>
                  </a:lnTo>
                  <a:lnTo>
                    <a:pt x="383129" y="1752600"/>
                  </a:lnTo>
                  <a:lnTo>
                    <a:pt x="342261" y="1854200"/>
                  </a:lnTo>
                  <a:lnTo>
                    <a:pt x="351214" y="1854200"/>
                  </a:lnTo>
                  <a:lnTo>
                    <a:pt x="452108" y="1820348"/>
                  </a:lnTo>
                  <a:lnTo>
                    <a:pt x="461608" y="1816100"/>
                  </a:lnTo>
                  <a:lnTo>
                    <a:pt x="464771" y="1816100"/>
                  </a:lnTo>
                  <a:lnTo>
                    <a:pt x="486121" y="1790700"/>
                  </a:lnTo>
                  <a:lnTo>
                    <a:pt x="527146" y="1701800"/>
                  </a:lnTo>
                  <a:lnTo>
                    <a:pt x="517337" y="1689927"/>
                  </a:lnTo>
                  <a:close/>
                </a:path>
                <a:path w="2492375" h="2628900">
                  <a:moveTo>
                    <a:pt x="461608" y="1816100"/>
                  </a:moveTo>
                  <a:lnTo>
                    <a:pt x="452108" y="1820348"/>
                  </a:lnTo>
                  <a:lnTo>
                    <a:pt x="462282" y="1816935"/>
                  </a:lnTo>
                  <a:lnTo>
                    <a:pt x="461608" y="1816100"/>
                  </a:lnTo>
                  <a:close/>
                </a:path>
                <a:path w="2492375" h="2628900">
                  <a:moveTo>
                    <a:pt x="464771" y="1816100"/>
                  </a:moveTo>
                  <a:lnTo>
                    <a:pt x="461608" y="1816100"/>
                  </a:lnTo>
                  <a:lnTo>
                    <a:pt x="462282" y="1816935"/>
                  </a:lnTo>
                  <a:lnTo>
                    <a:pt x="464771" y="1816100"/>
                  </a:lnTo>
                  <a:close/>
                </a:path>
                <a:path w="2492375" h="2628900">
                  <a:moveTo>
                    <a:pt x="1026346" y="1613584"/>
                  </a:moveTo>
                  <a:lnTo>
                    <a:pt x="1013254" y="1617781"/>
                  </a:lnTo>
                  <a:lnTo>
                    <a:pt x="866853" y="1676400"/>
                  </a:lnTo>
                  <a:lnTo>
                    <a:pt x="841262" y="1701800"/>
                  </a:lnTo>
                  <a:lnTo>
                    <a:pt x="799148" y="1803400"/>
                  </a:lnTo>
                  <a:lnTo>
                    <a:pt x="813524" y="1816100"/>
                  </a:lnTo>
                  <a:lnTo>
                    <a:pt x="972734" y="1765300"/>
                  </a:lnTo>
                  <a:lnTo>
                    <a:pt x="1000754" y="1739900"/>
                  </a:lnTo>
                  <a:lnTo>
                    <a:pt x="1042156" y="1625600"/>
                  </a:lnTo>
                  <a:lnTo>
                    <a:pt x="1026346" y="1613584"/>
                  </a:lnTo>
                  <a:close/>
                </a:path>
                <a:path w="2492375" h="2628900">
                  <a:moveTo>
                    <a:pt x="515360" y="1799581"/>
                  </a:moveTo>
                  <a:lnTo>
                    <a:pt x="505248" y="1802635"/>
                  </a:lnTo>
                  <a:lnTo>
                    <a:pt x="505879" y="1803400"/>
                  </a:lnTo>
                  <a:lnTo>
                    <a:pt x="515360" y="1799581"/>
                  </a:lnTo>
                  <a:close/>
                </a:path>
                <a:path w="2492375" h="2628900">
                  <a:moveTo>
                    <a:pt x="683822" y="1625600"/>
                  </a:moveTo>
                  <a:lnTo>
                    <a:pt x="557773" y="1676400"/>
                  </a:lnTo>
                  <a:lnTo>
                    <a:pt x="536329" y="1701800"/>
                  </a:lnTo>
                  <a:lnTo>
                    <a:pt x="495388" y="1790700"/>
                  </a:lnTo>
                  <a:lnTo>
                    <a:pt x="505248" y="1802635"/>
                  </a:lnTo>
                  <a:lnTo>
                    <a:pt x="515360" y="1799581"/>
                  </a:lnTo>
                  <a:lnTo>
                    <a:pt x="632012" y="1752600"/>
                  </a:lnTo>
                  <a:lnTo>
                    <a:pt x="655184" y="1727200"/>
                  </a:lnTo>
                  <a:lnTo>
                    <a:pt x="696052" y="1638300"/>
                  </a:lnTo>
                  <a:lnTo>
                    <a:pt x="683822" y="1625600"/>
                  </a:lnTo>
                  <a:close/>
                </a:path>
                <a:path w="2492375" h="2628900">
                  <a:moveTo>
                    <a:pt x="2143788" y="1498600"/>
                  </a:moveTo>
                  <a:lnTo>
                    <a:pt x="1859754" y="1587500"/>
                  </a:lnTo>
                  <a:lnTo>
                    <a:pt x="1819599" y="1612900"/>
                  </a:lnTo>
                  <a:lnTo>
                    <a:pt x="1781882" y="1765300"/>
                  </a:lnTo>
                  <a:lnTo>
                    <a:pt x="1812573" y="1778000"/>
                  </a:lnTo>
                  <a:lnTo>
                    <a:pt x="2101433" y="1701800"/>
                  </a:lnTo>
                  <a:lnTo>
                    <a:pt x="2147264" y="1663700"/>
                  </a:lnTo>
                  <a:lnTo>
                    <a:pt x="2180111" y="1511300"/>
                  </a:lnTo>
                  <a:lnTo>
                    <a:pt x="2143788" y="1498600"/>
                  </a:lnTo>
                  <a:close/>
                </a:path>
                <a:path w="2492375" h="2628900">
                  <a:moveTo>
                    <a:pt x="815556" y="1689100"/>
                  </a:moveTo>
                  <a:lnTo>
                    <a:pt x="676944" y="1739039"/>
                  </a:lnTo>
                  <a:lnTo>
                    <a:pt x="677780" y="1739900"/>
                  </a:lnTo>
                  <a:lnTo>
                    <a:pt x="816470" y="1689917"/>
                  </a:lnTo>
                  <a:lnTo>
                    <a:pt x="815556" y="1689100"/>
                  </a:lnTo>
                  <a:close/>
                </a:path>
                <a:path w="2492375" h="2628900">
                  <a:moveTo>
                    <a:pt x="1264005" y="1524673"/>
                  </a:moveTo>
                  <a:lnTo>
                    <a:pt x="1248061" y="1530311"/>
                  </a:lnTo>
                  <a:lnTo>
                    <a:pt x="1083254" y="1600200"/>
                  </a:lnTo>
                  <a:lnTo>
                    <a:pt x="1055161" y="1612900"/>
                  </a:lnTo>
                  <a:lnTo>
                    <a:pt x="1013675" y="1739900"/>
                  </a:lnTo>
                  <a:lnTo>
                    <a:pt x="1030973" y="1739900"/>
                  </a:lnTo>
                  <a:lnTo>
                    <a:pt x="1211858" y="1689100"/>
                  </a:lnTo>
                  <a:lnTo>
                    <a:pt x="1242726" y="1663700"/>
                  </a:lnTo>
                  <a:lnTo>
                    <a:pt x="1282924" y="1536700"/>
                  </a:lnTo>
                  <a:lnTo>
                    <a:pt x="1264005" y="1524673"/>
                  </a:lnTo>
                  <a:close/>
                </a:path>
                <a:path w="2492375" h="2628900">
                  <a:moveTo>
                    <a:pt x="871017" y="1550195"/>
                  </a:moveTo>
                  <a:lnTo>
                    <a:pt x="857713" y="1555001"/>
                  </a:lnTo>
                  <a:lnTo>
                    <a:pt x="729485" y="1612900"/>
                  </a:lnTo>
                  <a:lnTo>
                    <a:pt x="706261" y="1625600"/>
                  </a:lnTo>
                  <a:lnTo>
                    <a:pt x="665456" y="1727200"/>
                  </a:lnTo>
                  <a:lnTo>
                    <a:pt x="676944" y="1739039"/>
                  </a:lnTo>
                  <a:lnTo>
                    <a:pt x="815556" y="1689100"/>
                  </a:lnTo>
                  <a:lnTo>
                    <a:pt x="818739" y="1689100"/>
                  </a:lnTo>
                  <a:lnTo>
                    <a:pt x="843953" y="1663700"/>
                  </a:lnTo>
                  <a:lnTo>
                    <a:pt x="884444" y="1562100"/>
                  </a:lnTo>
                  <a:lnTo>
                    <a:pt x="871017" y="1550195"/>
                  </a:lnTo>
                  <a:close/>
                </a:path>
                <a:path w="2492375" h="2628900">
                  <a:moveTo>
                    <a:pt x="580526" y="1574800"/>
                  </a:moveTo>
                  <a:lnTo>
                    <a:pt x="569961" y="1574800"/>
                  </a:lnTo>
                  <a:lnTo>
                    <a:pt x="468101" y="1608893"/>
                  </a:lnTo>
                  <a:lnTo>
                    <a:pt x="459127" y="1612900"/>
                  </a:lnTo>
                  <a:lnTo>
                    <a:pt x="456132" y="1612900"/>
                  </a:lnTo>
                  <a:lnTo>
                    <a:pt x="436447" y="1638300"/>
                  </a:lnTo>
                  <a:lnTo>
                    <a:pt x="396961" y="1727200"/>
                  </a:lnTo>
                  <a:lnTo>
                    <a:pt x="406144" y="1727200"/>
                  </a:lnTo>
                  <a:lnTo>
                    <a:pt x="507192" y="1693328"/>
                  </a:lnTo>
                  <a:lnTo>
                    <a:pt x="516654" y="1689100"/>
                  </a:lnTo>
                  <a:lnTo>
                    <a:pt x="519806" y="1689100"/>
                  </a:lnTo>
                  <a:lnTo>
                    <a:pt x="540936" y="1663700"/>
                  </a:lnTo>
                  <a:lnTo>
                    <a:pt x="563559" y="1612900"/>
                  </a:lnTo>
                  <a:lnTo>
                    <a:pt x="459127" y="1612900"/>
                  </a:lnTo>
                  <a:lnTo>
                    <a:pt x="458532" y="1612096"/>
                  </a:lnTo>
                  <a:lnTo>
                    <a:pt x="563917" y="1612096"/>
                  </a:lnTo>
                  <a:lnTo>
                    <a:pt x="580526" y="1574800"/>
                  </a:lnTo>
                  <a:close/>
                </a:path>
                <a:path w="2492375" h="2628900">
                  <a:moveTo>
                    <a:pt x="516654" y="1689100"/>
                  </a:moveTo>
                  <a:lnTo>
                    <a:pt x="507192" y="1693328"/>
                  </a:lnTo>
                  <a:lnTo>
                    <a:pt x="517337" y="1689927"/>
                  </a:lnTo>
                  <a:lnTo>
                    <a:pt x="516654" y="1689100"/>
                  </a:lnTo>
                  <a:close/>
                </a:path>
                <a:path w="2492375" h="2628900">
                  <a:moveTo>
                    <a:pt x="519806" y="1689100"/>
                  </a:moveTo>
                  <a:lnTo>
                    <a:pt x="516654" y="1689100"/>
                  </a:lnTo>
                  <a:lnTo>
                    <a:pt x="517337" y="1689927"/>
                  </a:lnTo>
                  <a:lnTo>
                    <a:pt x="519806" y="1689100"/>
                  </a:lnTo>
                  <a:close/>
                </a:path>
                <a:path w="2492375" h="2628900">
                  <a:moveTo>
                    <a:pt x="818739" y="1689100"/>
                  </a:moveTo>
                  <a:lnTo>
                    <a:pt x="815556" y="1689100"/>
                  </a:lnTo>
                  <a:lnTo>
                    <a:pt x="816470" y="1689917"/>
                  </a:lnTo>
                  <a:lnTo>
                    <a:pt x="818739" y="1689100"/>
                  </a:lnTo>
                  <a:close/>
                </a:path>
                <a:path w="2492375" h="2628900">
                  <a:moveTo>
                    <a:pt x="749275" y="1498600"/>
                  </a:moveTo>
                  <a:lnTo>
                    <a:pt x="736857" y="1498600"/>
                  </a:lnTo>
                  <a:lnTo>
                    <a:pt x="625667" y="1543478"/>
                  </a:lnTo>
                  <a:lnTo>
                    <a:pt x="613918" y="1549400"/>
                  </a:lnTo>
                  <a:lnTo>
                    <a:pt x="610997" y="1549400"/>
                  </a:lnTo>
                  <a:lnTo>
                    <a:pt x="589741" y="1574800"/>
                  </a:lnTo>
                  <a:lnTo>
                    <a:pt x="550161" y="1663700"/>
                  </a:lnTo>
                  <a:lnTo>
                    <a:pt x="560862" y="1663700"/>
                  </a:lnTo>
                  <a:lnTo>
                    <a:pt x="686942" y="1612900"/>
                  </a:lnTo>
                  <a:lnTo>
                    <a:pt x="709873" y="1600200"/>
                  </a:lnTo>
                  <a:lnTo>
                    <a:pt x="729574" y="1549400"/>
                  </a:lnTo>
                  <a:lnTo>
                    <a:pt x="613918" y="1549400"/>
                  </a:lnTo>
                  <a:lnTo>
                    <a:pt x="613172" y="1548521"/>
                  </a:lnTo>
                  <a:lnTo>
                    <a:pt x="729915" y="1548521"/>
                  </a:lnTo>
                  <a:lnTo>
                    <a:pt x="749275" y="1498600"/>
                  </a:lnTo>
                  <a:close/>
                </a:path>
                <a:path w="2492375" h="2628900">
                  <a:moveTo>
                    <a:pt x="1095872" y="1473200"/>
                  </a:moveTo>
                  <a:lnTo>
                    <a:pt x="1079014" y="1473200"/>
                  </a:lnTo>
                  <a:lnTo>
                    <a:pt x="921207" y="1536700"/>
                  </a:lnTo>
                  <a:lnTo>
                    <a:pt x="895909" y="1549400"/>
                  </a:lnTo>
                  <a:lnTo>
                    <a:pt x="855387" y="1663700"/>
                  </a:lnTo>
                  <a:lnTo>
                    <a:pt x="870004" y="1663700"/>
                  </a:lnTo>
                  <a:lnTo>
                    <a:pt x="1013254" y="1617781"/>
                  </a:lnTo>
                  <a:lnTo>
                    <a:pt x="1025445" y="1612900"/>
                  </a:lnTo>
                  <a:lnTo>
                    <a:pt x="1028481" y="1612900"/>
                  </a:lnTo>
                  <a:lnTo>
                    <a:pt x="1056093" y="1587500"/>
                  </a:lnTo>
                  <a:lnTo>
                    <a:pt x="1095872" y="1473200"/>
                  </a:lnTo>
                  <a:close/>
                </a:path>
                <a:path w="2492375" h="2628900">
                  <a:moveTo>
                    <a:pt x="1558015" y="1435100"/>
                  </a:moveTo>
                  <a:lnTo>
                    <a:pt x="1534047" y="1435100"/>
                  </a:lnTo>
                  <a:lnTo>
                    <a:pt x="1328734" y="1511300"/>
                  </a:lnTo>
                  <a:lnTo>
                    <a:pt x="1297772" y="1536700"/>
                  </a:lnTo>
                  <a:lnTo>
                    <a:pt x="1257616" y="1651000"/>
                  </a:lnTo>
                  <a:lnTo>
                    <a:pt x="1278139" y="1663700"/>
                  </a:lnTo>
                  <a:lnTo>
                    <a:pt x="1485452" y="1587500"/>
                  </a:lnTo>
                  <a:lnTo>
                    <a:pt x="1519943" y="1562100"/>
                  </a:lnTo>
                  <a:lnTo>
                    <a:pt x="1558015" y="1435100"/>
                  </a:lnTo>
                  <a:close/>
                </a:path>
                <a:path w="2492375" h="2628900">
                  <a:moveTo>
                    <a:pt x="1025445" y="1612900"/>
                  </a:moveTo>
                  <a:lnTo>
                    <a:pt x="1013254" y="1617781"/>
                  </a:lnTo>
                  <a:lnTo>
                    <a:pt x="1026346" y="1613584"/>
                  </a:lnTo>
                  <a:lnTo>
                    <a:pt x="1025445" y="1612900"/>
                  </a:lnTo>
                  <a:close/>
                </a:path>
                <a:path w="2492375" h="2628900">
                  <a:moveTo>
                    <a:pt x="1028481" y="1612900"/>
                  </a:moveTo>
                  <a:lnTo>
                    <a:pt x="1025445" y="1612900"/>
                  </a:lnTo>
                  <a:lnTo>
                    <a:pt x="1026346" y="1613584"/>
                  </a:lnTo>
                  <a:lnTo>
                    <a:pt x="1028481" y="1612900"/>
                  </a:lnTo>
                  <a:close/>
                </a:path>
                <a:path w="2492375" h="2628900">
                  <a:moveTo>
                    <a:pt x="468101" y="1608893"/>
                  </a:moveTo>
                  <a:lnTo>
                    <a:pt x="458532" y="1612096"/>
                  </a:lnTo>
                  <a:lnTo>
                    <a:pt x="459127" y="1612900"/>
                  </a:lnTo>
                  <a:lnTo>
                    <a:pt x="468101" y="1608893"/>
                  </a:lnTo>
                  <a:close/>
                </a:path>
                <a:path w="2492375" h="2628900">
                  <a:moveTo>
                    <a:pt x="632074" y="1447800"/>
                  </a:moveTo>
                  <a:lnTo>
                    <a:pt x="621342" y="1447800"/>
                  </a:lnTo>
                  <a:lnTo>
                    <a:pt x="507618" y="1498600"/>
                  </a:lnTo>
                  <a:lnTo>
                    <a:pt x="487995" y="1524000"/>
                  </a:lnTo>
                  <a:lnTo>
                    <a:pt x="449724" y="1600200"/>
                  </a:lnTo>
                  <a:lnTo>
                    <a:pt x="458532" y="1612096"/>
                  </a:lnTo>
                  <a:lnTo>
                    <a:pt x="468101" y="1608893"/>
                  </a:lnTo>
                  <a:lnTo>
                    <a:pt x="572924" y="1562100"/>
                  </a:lnTo>
                  <a:lnTo>
                    <a:pt x="593940" y="1536700"/>
                  </a:lnTo>
                  <a:lnTo>
                    <a:pt x="632074" y="1447800"/>
                  </a:lnTo>
                  <a:close/>
                </a:path>
                <a:path w="2492375" h="2628900">
                  <a:moveTo>
                    <a:pt x="937144" y="1422400"/>
                  </a:moveTo>
                  <a:lnTo>
                    <a:pt x="922621" y="1422400"/>
                  </a:lnTo>
                  <a:lnTo>
                    <a:pt x="797622" y="1467703"/>
                  </a:lnTo>
                  <a:lnTo>
                    <a:pt x="785494" y="1473200"/>
                  </a:lnTo>
                  <a:lnTo>
                    <a:pt x="782457" y="1473200"/>
                  </a:lnTo>
                  <a:lnTo>
                    <a:pt x="759495" y="1498600"/>
                  </a:lnTo>
                  <a:lnTo>
                    <a:pt x="720082" y="1600200"/>
                  </a:lnTo>
                  <a:lnTo>
                    <a:pt x="732605" y="1600200"/>
                  </a:lnTo>
                  <a:lnTo>
                    <a:pt x="857713" y="1555001"/>
                  </a:lnTo>
                  <a:lnTo>
                    <a:pt x="870120" y="1549400"/>
                  </a:lnTo>
                  <a:lnTo>
                    <a:pt x="873219" y="1549400"/>
                  </a:lnTo>
                  <a:lnTo>
                    <a:pt x="898108" y="1524000"/>
                  </a:lnTo>
                  <a:lnTo>
                    <a:pt x="917626" y="1473200"/>
                  </a:lnTo>
                  <a:lnTo>
                    <a:pt x="785494" y="1473200"/>
                  </a:lnTo>
                  <a:lnTo>
                    <a:pt x="784682" y="1472393"/>
                  </a:lnTo>
                  <a:lnTo>
                    <a:pt x="917936" y="1472393"/>
                  </a:lnTo>
                  <a:lnTo>
                    <a:pt x="937144" y="1422400"/>
                  </a:lnTo>
                  <a:close/>
                </a:path>
                <a:path w="2492375" h="2628900">
                  <a:moveTo>
                    <a:pt x="1315878" y="1372266"/>
                  </a:moveTo>
                  <a:lnTo>
                    <a:pt x="1300196" y="1377853"/>
                  </a:lnTo>
                  <a:lnTo>
                    <a:pt x="1136541" y="1447800"/>
                  </a:lnTo>
                  <a:lnTo>
                    <a:pt x="1108835" y="1473200"/>
                  </a:lnTo>
                  <a:lnTo>
                    <a:pt x="1069119" y="1574800"/>
                  </a:lnTo>
                  <a:lnTo>
                    <a:pt x="1086354" y="1587500"/>
                  </a:lnTo>
                  <a:lnTo>
                    <a:pt x="1248061" y="1530311"/>
                  </a:lnTo>
                  <a:lnTo>
                    <a:pt x="1262945" y="1524000"/>
                  </a:lnTo>
                  <a:lnTo>
                    <a:pt x="1265909" y="1524000"/>
                  </a:lnTo>
                  <a:lnTo>
                    <a:pt x="1296410" y="1498600"/>
                  </a:lnTo>
                  <a:lnTo>
                    <a:pt x="1334817" y="1384300"/>
                  </a:lnTo>
                  <a:lnTo>
                    <a:pt x="1315878" y="1372266"/>
                  </a:lnTo>
                  <a:close/>
                </a:path>
                <a:path w="2492375" h="2628900">
                  <a:moveTo>
                    <a:pt x="1875377" y="1320800"/>
                  </a:moveTo>
                  <a:lnTo>
                    <a:pt x="1846352" y="1320800"/>
                  </a:lnTo>
                  <a:lnTo>
                    <a:pt x="1609574" y="1409700"/>
                  </a:lnTo>
                  <a:lnTo>
                    <a:pt x="1574957" y="1435100"/>
                  </a:lnTo>
                  <a:lnTo>
                    <a:pt x="1537021" y="1562100"/>
                  </a:lnTo>
                  <a:lnTo>
                    <a:pt x="1561837" y="1562100"/>
                  </a:lnTo>
                  <a:lnTo>
                    <a:pt x="1801725" y="1485900"/>
                  </a:lnTo>
                  <a:lnTo>
                    <a:pt x="1840477" y="1460500"/>
                  </a:lnTo>
                  <a:lnTo>
                    <a:pt x="1875377" y="1320800"/>
                  </a:lnTo>
                  <a:close/>
                </a:path>
                <a:path w="2492375" h="2628900">
                  <a:moveTo>
                    <a:pt x="870120" y="1549400"/>
                  </a:moveTo>
                  <a:lnTo>
                    <a:pt x="857713" y="1555001"/>
                  </a:lnTo>
                  <a:lnTo>
                    <a:pt x="871017" y="1550195"/>
                  </a:lnTo>
                  <a:lnTo>
                    <a:pt x="870120" y="1549400"/>
                  </a:lnTo>
                  <a:close/>
                </a:path>
                <a:path w="2492375" h="2628900">
                  <a:moveTo>
                    <a:pt x="873219" y="1549400"/>
                  </a:moveTo>
                  <a:lnTo>
                    <a:pt x="870120" y="1549400"/>
                  </a:lnTo>
                  <a:lnTo>
                    <a:pt x="871017" y="1550195"/>
                  </a:lnTo>
                  <a:lnTo>
                    <a:pt x="873219" y="1549400"/>
                  </a:lnTo>
                  <a:close/>
                </a:path>
                <a:path w="2492375" h="2628900">
                  <a:moveTo>
                    <a:pt x="625667" y="1543478"/>
                  </a:moveTo>
                  <a:lnTo>
                    <a:pt x="613172" y="1548521"/>
                  </a:lnTo>
                  <a:lnTo>
                    <a:pt x="613918" y="1549400"/>
                  </a:lnTo>
                  <a:lnTo>
                    <a:pt x="625667" y="1543478"/>
                  </a:lnTo>
                  <a:close/>
                </a:path>
                <a:path w="2492375" h="2628900">
                  <a:moveTo>
                    <a:pt x="800645" y="1371600"/>
                  </a:moveTo>
                  <a:lnTo>
                    <a:pt x="788091" y="1371600"/>
                  </a:lnTo>
                  <a:lnTo>
                    <a:pt x="662398" y="1435100"/>
                  </a:lnTo>
                  <a:lnTo>
                    <a:pt x="641278" y="1447800"/>
                  </a:lnTo>
                  <a:lnTo>
                    <a:pt x="603133" y="1536700"/>
                  </a:lnTo>
                  <a:lnTo>
                    <a:pt x="613172" y="1548521"/>
                  </a:lnTo>
                  <a:lnTo>
                    <a:pt x="625667" y="1543478"/>
                  </a:lnTo>
                  <a:lnTo>
                    <a:pt x="739914" y="1485900"/>
                  </a:lnTo>
                  <a:lnTo>
                    <a:pt x="762594" y="1473200"/>
                  </a:lnTo>
                  <a:lnTo>
                    <a:pt x="800645" y="1371600"/>
                  </a:lnTo>
                  <a:close/>
                </a:path>
                <a:path w="2492375" h="2628900">
                  <a:moveTo>
                    <a:pt x="1262945" y="1524000"/>
                  </a:moveTo>
                  <a:lnTo>
                    <a:pt x="1248061" y="1530311"/>
                  </a:lnTo>
                  <a:lnTo>
                    <a:pt x="1264005" y="1524673"/>
                  </a:lnTo>
                  <a:lnTo>
                    <a:pt x="1262945" y="1524000"/>
                  </a:lnTo>
                  <a:close/>
                </a:path>
                <a:path w="2492375" h="2628900">
                  <a:moveTo>
                    <a:pt x="1265909" y="1524000"/>
                  </a:moveTo>
                  <a:lnTo>
                    <a:pt x="1262945" y="1524000"/>
                  </a:lnTo>
                  <a:lnTo>
                    <a:pt x="1264005" y="1524673"/>
                  </a:lnTo>
                  <a:lnTo>
                    <a:pt x="1265909" y="1524000"/>
                  </a:lnTo>
                  <a:close/>
                </a:path>
                <a:path w="2492375" h="2628900">
                  <a:moveTo>
                    <a:pt x="1131441" y="1321571"/>
                  </a:moveTo>
                  <a:lnTo>
                    <a:pt x="1115717" y="1327934"/>
                  </a:lnTo>
                  <a:lnTo>
                    <a:pt x="973530" y="1397000"/>
                  </a:lnTo>
                  <a:lnTo>
                    <a:pt x="948494" y="1422400"/>
                  </a:lnTo>
                  <a:lnTo>
                    <a:pt x="909532" y="1524000"/>
                  </a:lnTo>
                  <a:lnTo>
                    <a:pt x="924254" y="1524000"/>
                  </a:lnTo>
                  <a:lnTo>
                    <a:pt x="1081987" y="1460500"/>
                  </a:lnTo>
                  <a:lnTo>
                    <a:pt x="1109306" y="1435100"/>
                  </a:lnTo>
                  <a:lnTo>
                    <a:pt x="1147451" y="1333500"/>
                  </a:lnTo>
                  <a:lnTo>
                    <a:pt x="1131441" y="1321571"/>
                  </a:lnTo>
                  <a:close/>
                </a:path>
                <a:path w="2492375" h="2628900">
                  <a:moveTo>
                    <a:pt x="1607113" y="1270000"/>
                  </a:moveTo>
                  <a:lnTo>
                    <a:pt x="1583145" y="1270000"/>
                  </a:lnTo>
                  <a:lnTo>
                    <a:pt x="1380031" y="1346200"/>
                  </a:lnTo>
                  <a:lnTo>
                    <a:pt x="1349508" y="1371600"/>
                  </a:lnTo>
                  <a:lnTo>
                    <a:pt x="1311164" y="1485900"/>
                  </a:lnTo>
                  <a:lnTo>
                    <a:pt x="1331729" y="1498600"/>
                  </a:lnTo>
                  <a:lnTo>
                    <a:pt x="1536937" y="1422400"/>
                  </a:lnTo>
                  <a:lnTo>
                    <a:pt x="1570800" y="1397000"/>
                  </a:lnTo>
                  <a:lnTo>
                    <a:pt x="1607113" y="1270000"/>
                  </a:lnTo>
                  <a:close/>
                </a:path>
                <a:path w="2492375" h="2628900">
                  <a:moveTo>
                    <a:pt x="797622" y="1467703"/>
                  </a:moveTo>
                  <a:lnTo>
                    <a:pt x="784682" y="1472393"/>
                  </a:lnTo>
                  <a:lnTo>
                    <a:pt x="785494" y="1473200"/>
                  </a:lnTo>
                  <a:lnTo>
                    <a:pt x="797622" y="1467703"/>
                  </a:lnTo>
                  <a:close/>
                </a:path>
                <a:path w="2492375" h="2628900">
                  <a:moveTo>
                    <a:pt x="973247" y="1282700"/>
                  </a:moveTo>
                  <a:lnTo>
                    <a:pt x="833545" y="1346200"/>
                  </a:lnTo>
                  <a:lnTo>
                    <a:pt x="810802" y="1371600"/>
                  </a:lnTo>
                  <a:lnTo>
                    <a:pt x="772698" y="1460500"/>
                  </a:lnTo>
                  <a:lnTo>
                    <a:pt x="784682" y="1472393"/>
                  </a:lnTo>
                  <a:lnTo>
                    <a:pt x="797622" y="1467703"/>
                  </a:lnTo>
                  <a:lnTo>
                    <a:pt x="925615" y="1409700"/>
                  </a:lnTo>
                  <a:lnTo>
                    <a:pt x="950243" y="1384300"/>
                  </a:lnTo>
                  <a:lnTo>
                    <a:pt x="987760" y="1295400"/>
                  </a:lnTo>
                  <a:lnTo>
                    <a:pt x="973247" y="1282700"/>
                  </a:lnTo>
                  <a:close/>
                </a:path>
                <a:path w="2492375" h="2628900">
                  <a:moveTo>
                    <a:pt x="2211109" y="1181480"/>
                  </a:moveTo>
                  <a:lnTo>
                    <a:pt x="2194189" y="1186933"/>
                  </a:lnTo>
                  <a:lnTo>
                    <a:pt x="1933857" y="1282700"/>
                  </a:lnTo>
                  <a:lnTo>
                    <a:pt x="1894978" y="1320800"/>
                  </a:lnTo>
                  <a:lnTo>
                    <a:pt x="1860383" y="1447800"/>
                  </a:lnTo>
                  <a:lnTo>
                    <a:pt x="1890581" y="1460500"/>
                  </a:lnTo>
                  <a:lnTo>
                    <a:pt x="2171368" y="1371600"/>
                  </a:lnTo>
                  <a:lnTo>
                    <a:pt x="2215586" y="1333500"/>
                  </a:lnTo>
                  <a:lnTo>
                    <a:pt x="2245491" y="1193800"/>
                  </a:lnTo>
                  <a:lnTo>
                    <a:pt x="2211109" y="1181480"/>
                  </a:lnTo>
                  <a:close/>
                </a:path>
                <a:path w="2492375" h="2628900">
                  <a:moveTo>
                    <a:pt x="1384523" y="1231900"/>
                  </a:moveTo>
                  <a:lnTo>
                    <a:pt x="1364565" y="1231900"/>
                  </a:lnTo>
                  <a:lnTo>
                    <a:pt x="1187628" y="1308100"/>
                  </a:lnTo>
                  <a:lnTo>
                    <a:pt x="1160278" y="1320800"/>
                  </a:lnTo>
                  <a:lnTo>
                    <a:pt x="1122206" y="1435100"/>
                  </a:lnTo>
                  <a:lnTo>
                    <a:pt x="1139515" y="1435100"/>
                  </a:lnTo>
                  <a:lnTo>
                    <a:pt x="1300196" y="1377853"/>
                  </a:lnTo>
                  <a:lnTo>
                    <a:pt x="1314829" y="1371600"/>
                  </a:lnTo>
                  <a:lnTo>
                    <a:pt x="1317750" y="1371600"/>
                  </a:lnTo>
                  <a:lnTo>
                    <a:pt x="1347718" y="1346200"/>
                  </a:lnTo>
                  <a:lnTo>
                    <a:pt x="1384523" y="1231900"/>
                  </a:lnTo>
                  <a:close/>
                </a:path>
                <a:path w="2492375" h="2628900">
                  <a:moveTo>
                    <a:pt x="710470" y="1270000"/>
                  </a:moveTo>
                  <a:lnTo>
                    <a:pt x="699444" y="1270000"/>
                  </a:lnTo>
                  <a:lnTo>
                    <a:pt x="599641" y="1314622"/>
                  </a:lnTo>
                  <a:lnTo>
                    <a:pt x="588589" y="1320800"/>
                  </a:lnTo>
                  <a:lnTo>
                    <a:pt x="585825" y="1320800"/>
                  </a:lnTo>
                  <a:lnTo>
                    <a:pt x="566474" y="1346200"/>
                  </a:lnTo>
                  <a:lnTo>
                    <a:pt x="530119" y="1422400"/>
                  </a:lnTo>
                  <a:lnTo>
                    <a:pt x="539742" y="1422400"/>
                  </a:lnTo>
                  <a:lnTo>
                    <a:pt x="653508" y="1371600"/>
                  </a:lnTo>
                  <a:lnTo>
                    <a:pt x="674199" y="1358900"/>
                  </a:lnTo>
                  <a:lnTo>
                    <a:pt x="689744" y="1320800"/>
                  </a:lnTo>
                  <a:lnTo>
                    <a:pt x="588589" y="1320800"/>
                  </a:lnTo>
                  <a:lnTo>
                    <a:pt x="587879" y="1319881"/>
                  </a:lnTo>
                  <a:lnTo>
                    <a:pt x="690118" y="1319881"/>
                  </a:lnTo>
                  <a:lnTo>
                    <a:pt x="710470" y="1270000"/>
                  </a:lnTo>
                  <a:close/>
                </a:path>
                <a:path w="2492375" h="2628900">
                  <a:moveTo>
                    <a:pt x="1920140" y="1143000"/>
                  </a:moveTo>
                  <a:lnTo>
                    <a:pt x="1891387" y="1143000"/>
                  </a:lnTo>
                  <a:lnTo>
                    <a:pt x="1679296" y="1223744"/>
                  </a:lnTo>
                  <a:lnTo>
                    <a:pt x="1660567" y="1231900"/>
                  </a:lnTo>
                  <a:lnTo>
                    <a:pt x="1657876" y="1231900"/>
                  </a:lnTo>
                  <a:lnTo>
                    <a:pt x="1623824" y="1270000"/>
                  </a:lnTo>
                  <a:lnTo>
                    <a:pt x="1587637" y="1384300"/>
                  </a:lnTo>
                  <a:lnTo>
                    <a:pt x="1612432" y="1397000"/>
                  </a:lnTo>
                  <a:lnTo>
                    <a:pt x="1849001" y="1308100"/>
                  </a:lnTo>
                  <a:lnTo>
                    <a:pt x="1887062" y="1282700"/>
                  </a:lnTo>
                  <a:lnTo>
                    <a:pt x="1899091" y="1231900"/>
                  </a:lnTo>
                  <a:lnTo>
                    <a:pt x="1660567" y="1231900"/>
                  </a:lnTo>
                  <a:lnTo>
                    <a:pt x="1659425" y="1231310"/>
                  </a:lnTo>
                  <a:lnTo>
                    <a:pt x="1899230" y="1231310"/>
                  </a:lnTo>
                  <a:lnTo>
                    <a:pt x="1920140" y="1143000"/>
                  </a:lnTo>
                  <a:close/>
                </a:path>
                <a:path w="2492375" h="2628900">
                  <a:moveTo>
                    <a:pt x="1196937" y="1193800"/>
                  </a:moveTo>
                  <a:lnTo>
                    <a:pt x="1179943" y="1193800"/>
                  </a:lnTo>
                  <a:lnTo>
                    <a:pt x="1023905" y="1257300"/>
                  </a:lnTo>
                  <a:lnTo>
                    <a:pt x="999142" y="1282700"/>
                  </a:lnTo>
                  <a:lnTo>
                    <a:pt x="961667" y="1384300"/>
                  </a:lnTo>
                  <a:lnTo>
                    <a:pt x="976431" y="1384300"/>
                  </a:lnTo>
                  <a:lnTo>
                    <a:pt x="1115717" y="1327934"/>
                  </a:lnTo>
                  <a:lnTo>
                    <a:pt x="1130405" y="1320800"/>
                  </a:lnTo>
                  <a:lnTo>
                    <a:pt x="1133347" y="1320800"/>
                  </a:lnTo>
                  <a:lnTo>
                    <a:pt x="1160257" y="1295400"/>
                  </a:lnTo>
                  <a:lnTo>
                    <a:pt x="1196937" y="1193800"/>
                  </a:lnTo>
                  <a:close/>
                </a:path>
                <a:path w="2492375" h="2628900">
                  <a:moveTo>
                    <a:pt x="1314829" y="1371600"/>
                  </a:moveTo>
                  <a:lnTo>
                    <a:pt x="1300196" y="1377853"/>
                  </a:lnTo>
                  <a:lnTo>
                    <a:pt x="1315878" y="1372266"/>
                  </a:lnTo>
                  <a:lnTo>
                    <a:pt x="1314829" y="1371600"/>
                  </a:lnTo>
                  <a:close/>
                </a:path>
                <a:path w="2492375" h="2628900">
                  <a:moveTo>
                    <a:pt x="1317750" y="1371600"/>
                  </a:moveTo>
                  <a:lnTo>
                    <a:pt x="1314829" y="1371600"/>
                  </a:lnTo>
                  <a:lnTo>
                    <a:pt x="1315878" y="1372266"/>
                  </a:lnTo>
                  <a:lnTo>
                    <a:pt x="1317750" y="1371600"/>
                  </a:lnTo>
                  <a:close/>
                </a:path>
                <a:path w="2492375" h="2628900">
                  <a:moveTo>
                    <a:pt x="878392" y="1181100"/>
                  </a:moveTo>
                  <a:lnTo>
                    <a:pt x="868381" y="1181100"/>
                  </a:lnTo>
                  <a:lnTo>
                    <a:pt x="743171" y="1244600"/>
                  </a:lnTo>
                  <a:lnTo>
                    <a:pt x="740438" y="1244600"/>
                  </a:lnTo>
                  <a:lnTo>
                    <a:pt x="719622" y="1270000"/>
                  </a:lnTo>
                  <a:lnTo>
                    <a:pt x="683424" y="1346200"/>
                  </a:lnTo>
                  <a:lnTo>
                    <a:pt x="694471" y="1358900"/>
                  </a:lnTo>
                  <a:lnTo>
                    <a:pt x="820090" y="1295400"/>
                  </a:lnTo>
                  <a:lnTo>
                    <a:pt x="842445" y="1270000"/>
                  </a:lnTo>
                  <a:lnTo>
                    <a:pt x="852715" y="1244600"/>
                  </a:lnTo>
                  <a:lnTo>
                    <a:pt x="743171" y="1244600"/>
                  </a:lnTo>
                  <a:lnTo>
                    <a:pt x="742326" y="1243642"/>
                  </a:lnTo>
                  <a:lnTo>
                    <a:pt x="853103" y="1243642"/>
                  </a:lnTo>
                  <a:lnTo>
                    <a:pt x="878392" y="1181100"/>
                  </a:lnTo>
                  <a:close/>
                </a:path>
                <a:path w="2492375" h="2628900">
                  <a:moveTo>
                    <a:pt x="1631392" y="1105531"/>
                  </a:moveTo>
                  <a:lnTo>
                    <a:pt x="1431956" y="1193800"/>
                  </a:lnTo>
                  <a:lnTo>
                    <a:pt x="1429087" y="1193800"/>
                  </a:lnTo>
                  <a:lnTo>
                    <a:pt x="1399098" y="1219200"/>
                  </a:lnTo>
                  <a:lnTo>
                    <a:pt x="1362366" y="1333500"/>
                  </a:lnTo>
                  <a:lnTo>
                    <a:pt x="1382931" y="1333500"/>
                  </a:lnTo>
                  <a:lnTo>
                    <a:pt x="1585962" y="1257300"/>
                  </a:lnTo>
                  <a:lnTo>
                    <a:pt x="1619249" y="1231900"/>
                  </a:lnTo>
                  <a:lnTo>
                    <a:pt x="1630815" y="1193800"/>
                  </a:lnTo>
                  <a:lnTo>
                    <a:pt x="1431956" y="1193800"/>
                  </a:lnTo>
                  <a:lnTo>
                    <a:pt x="1430760" y="1193060"/>
                  </a:lnTo>
                  <a:lnTo>
                    <a:pt x="1631040" y="1193060"/>
                  </a:lnTo>
                  <a:lnTo>
                    <a:pt x="1653949" y="1117600"/>
                  </a:lnTo>
                  <a:lnTo>
                    <a:pt x="1631392" y="1105531"/>
                  </a:lnTo>
                  <a:close/>
                </a:path>
                <a:path w="2492375" h="2628900">
                  <a:moveTo>
                    <a:pt x="1130405" y="1320800"/>
                  </a:moveTo>
                  <a:lnTo>
                    <a:pt x="1115717" y="1327934"/>
                  </a:lnTo>
                  <a:lnTo>
                    <a:pt x="1131441" y="1321571"/>
                  </a:lnTo>
                  <a:lnTo>
                    <a:pt x="1130405" y="1320800"/>
                  </a:lnTo>
                  <a:close/>
                </a:path>
                <a:path w="2492375" h="2628900">
                  <a:moveTo>
                    <a:pt x="1133347" y="1320800"/>
                  </a:moveTo>
                  <a:lnTo>
                    <a:pt x="1130405" y="1320800"/>
                  </a:lnTo>
                  <a:lnTo>
                    <a:pt x="1131441" y="1321571"/>
                  </a:lnTo>
                  <a:lnTo>
                    <a:pt x="1133347" y="1320800"/>
                  </a:lnTo>
                  <a:close/>
                </a:path>
                <a:path w="2492375" h="2628900">
                  <a:moveTo>
                    <a:pt x="599641" y="1314622"/>
                  </a:moveTo>
                  <a:lnTo>
                    <a:pt x="587879" y="1319881"/>
                  </a:lnTo>
                  <a:lnTo>
                    <a:pt x="588589" y="1320800"/>
                  </a:lnTo>
                  <a:lnTo>
                    <a:pt x="599641" y="1314622"/>
                  </a:lnTo>
                  <a:close/>
                </a:path>
                <a:path w="2492375" h="2628900">
                  <a:moveTo>
                    <a:pt x="757830" y="1155700"/>
                  </a:moveTo>
                  <a:lnTo>
                    <a:pt x="749369" y="1155700"/>
                  </a:lnTo>
                  <a:lnTo>
                    <a:pt x="736247" y="1161572"/>
                  </a:lnTo>
                  <a:lnTo>
                    <a:pt x="633163" y="1219200"/>
                  </a:lnTo>
                  <a:lnTo>
                    <a:pt x="614002" y="1231900"/>
                  </a:lnTo>
                  <a:lnTo>
                    <a:pt x="578767" y="1308100"/>
                  </a:lnTo>
                  <a:lnTo>
                    <a:pt x="587879" y="1319881"/>
                  </a:lnTo>
                  <a:lnTo>
                    <a:pt x="599641" y="1314622"/>
                  </a:lnTo>
                  <a:lnTo>
                    <a:pt x="702198" y="1257300"/>
                  </a:lnTo>
                  <a:lnTo>
                    <a:pt x="722690" y="1244600"/>
                  </a:lnTo>
                  <a:lnTo>
                    <a:pt x="757830" y="1155700"/>
                  </a:lnTo>
                  <a:close/>
                </a:path>
                <a:path w="2492375" h="2628900">
                  <a:moveTo>
                    <a:pt x="1432123" y="1079500"/>
                  </a:moveTo>
                  <a:lnTo>
                    <a:pt x="1412124" y="1079500"/>
                  </a:lnTo>
                  <a:lnTo>
                    <a:pt x="1236695" y="1168400"/>
                  </a:lnTo>
                  <a:lnTo>
                    <a:pt x="1209628" y="1193800"/>
                  </a:lnTo>
                  <a:lnTo>
                    <a:pt x="1172969" y="1295400"/>
                  </a:lnTo>
                  <a:lnTo>
                    <a:pt x="1190455" y="1295400"/>
                  </a:lnTo>
                  <a:lnTo>
                    <a:pt x="1367330" y="1219200"/>
                  </a:lnTo>
                  <a:lnTo>
                    <a:pt x="1396899" y="1193800"/>
                  </a:lnTo>
                  <a:lnTo>
                    <a:pt x="1432123" y="1079500"/>
                  </a:lnTo>
                  <a:close/>
                </a:path>
                <a:path w="2492375" h="2628900">
                  <a:moveTo>
                    <a:pt x="1064355" y="1092200"/>
                  </a:moveTo>
                  <a:lnTo>
                    <a:pt x="1049643" y="1092200"/>
                  </a:lnTo>
                  <a:lnTo>
                    <a:pt x="927139" y="1148269"/>
                  </a:lnTo>
                  <a:lnTo>
                    <a:pt x="913616" y="1155700"/>
                  </a:lnTo>
                  <a:lnTo>
                    <a:pt x="910904" y="1155700"/>
                  </a:lnTo>
                  <a:lnTo>
                    <a:pt x="888517" y="1181100"/>
                  </a:lnTo>
                  <a:lnTo>
                    <a:pt x="852518" y="1270000"/>
                  </a:lnTo>
                  <a:lnTo>
                    <a:pt x="865429" y="1270000"/>
                  </a:lnTo>
                  <a:lnTo>
                    <a:pt x="1004733" y="1206500"/>
                  </a:lnTo>
                  <a:lnTo>
                    <a:pt x="1028984" y="1181100"/>
                  </a:lnTo>
                  <a:lnTo>
                    <a:pt x="1039090" y="1155700"/>
                  </a:lnTo>
                  <a:lnTo>
                    <a:pt x="913616" y="1155700"/>
                  </a:lnTo>
                  <a:lnTo>
                    <a:pt x="927139" y="1148269"/>
                  </a:lnTo>
                  <a:lnTo>
                    <a:pt x="1042046" y="1148269"/>
                  </a:lnTo>
                  <a:lnTo>
                    <a:pt x="1064355" y="1092200"/>
                  </a:lnTo>
                  <a:close/>
                </a:path>
                <a:path w="2492375" h="2628900">
                  <a:moveTo>
                    <a:pt x="2283773" y="1003300"/>
                  </a:moveTo>
                  <a:lnTo>
                    <a:pt x="2248936" y="1003300"/>
                  </a:lnTo>
                  <a:lnTo>
                    <a:pt x="1999071" y="1096872"/>
                  </a:lnTo>
                  <a:lnTo>
                    <a:pt x="1980033" y="1104900"/>
                  </a:lnTo>
                  <a:lnTo>
                    <a:pt x="1977636" y="1104900"/>
                  </a:lnTo>
                  <a:lnTo>
                    <a:pt x="1939543" y="1143000"/>
                  </a:lnTo>
                  <a:lnTo>
                    <a:pt x="1906674" y="1270000"/>
                  </a:lnTo>
                  <a:lnTo>
                    <a:pt x="1936475" y="1270000"/>
                  </a:lnTo>
                  <a:lnTo>
                    <a:pt x="2194189" y="1186933"/>
                  </a:lnTo>
                  <a:lnTo>
                    <a:pt x="2210047" y="1181100"/>
                  </a:lnTo>
                  <a:lnTo>
                    <a:pt x="2212288" y="1181100"/>
                  </a:lnTo>
                  <a:lnTo>
                    <a:pt x="2255502" y="1143000"/>
                  </a:lnTo>
                  <a:lnTo>
                    <a:pt x="2263212" y="1104900"/>
                  </a:lnTo>
                  <a:lnTo>
                    <a:pt x="1980033" y="1104900"/>
                  </a:lnTo>
                  <a:lnTo>
                    <a:pt x="1978918" y="1104419"/>
                  </a:lnTo>
                  <a:lnTo>
                    <a:pt x="2263309" y="1104419"/>
                  </a:lnTo>
                  <a:lnTo>
                    <a:pt x="2283773" y="1003300"/>
                  </a:lnTo>
                  <a:close/>
                </a:path>
                <a:path w="2492375" h="2628900">
                  <a:moveTo>
                    <a:pt x="868381" y="1181100"/>
                  </a:moveTo>
                  <a:lnTo>
                    <a:pt x="865659" y="1181100"/>
                  </a:lnTo>
                  <a:lnTo>
                    <a:pt x="742326" y="1243642"/>
                  </a:lnTo>
                  <a:lnTo>
                    <a:pt x="743171" y="1244600"/>
                  </a:lnTo>
                  <a:lnTo>
                    <a:pt x="868381" y="1181100"/>
                  </a:lnTo>
                  <a:close/>
                </a:path>
                <a:path w="2492375" h="2628900">
                  <a:moveTo>
                    <a:pt x="915050" y="1066800"/>
                  </a:moveTo>
                  <a:lnTo>
                    <a:pt x="912432" y="1066800"/>
                  </a:lnTo>
                  <a:lnTo>
                    <a:pt x="787599" y="1130300"/>
                  </a:lnTo>
                  <a:lnTo>
                    <a:pt x="766960" y="1155700"/>
                  </a:lnTo>
                  <a:lnTo>
                    <a:pt x="731977" y="1231900"/>
                  </a:lnTo>
                  <a:lnTo>
                    <a:pt x="742326" y="1243642"/>
                  </a:lnTo>
                  <a:lnTo>
                    <a:pt x="865659" y="1181100"/>
                  </a:lnTo>
                  <a:lnTo>
                    <a:pt x="868381" y="1181100"/>
                  </a:lnTo>
                  <a:lnTo>
                    <a:pt x="890538" y="1155700"/>
                  </a:lnTo>
                  <a:lnTo>
                    <a:pt x="900440" y="1130300"/>
                  </a:lnTo>
                  <a:lnTo>
                    <a:pt x="790153" y="1130300"/>
                  </a:lnTo>
                  <a:lnTo>
                    <a:pt x="915050" y="1066800"/>
                  </a:lnTo>
                  <a:close/>
                </a:path>
                <a:path w="2492375" h="2628900">
                  <a:moveTo>
                    <a:pt x="1679296" y="1223744"/>
                  </a:moveTo>
                  <a:lnTo>
                    <a:pt x="1659425" y="1231310"/>
                  </a:lnTo>
                  <a:lnTo>
                    <a:pt x="1660567" y="1231900"/>
                  </a:lnTo>
                  <a:lnTo>
                    <a:pt x="1679296" y="1223744"/>
                  </a:lnTo>
                  <a:close/>
                </a:path>
                <a:path w="2492375" h="2628900">
                  <a:moveTo>
                    <a:pt x="1962715" y="977900"/>
                  </a:moveTo>
                  <a:lnTo>
                    <a:pt x="1934234" y="977900"/>
                  </a:lnTo>
                  <a:lnTo>
                    <a:pt x="1703927" y="1079500"/>
                  </a:lnTo>
                  <a:lnTo>
                    <a:pt x="1670504" y="1104900"/>
                  </a:lnTo>
                  <a:lnTo>
                    <a:pt x="1635971" y="1219200"/>
                  </a:lnTo>
                  <a:lnTo>
                    <a:pt x="1659425" y="1231310"/>
                  </a:lnTo>
                  <a:lnTo>
                    <a:pt x="1679296" y="1223744"/>
                  </a:lnTo>
                  <a:lnTo>
                    <a:pt x="1893910" y="1130300"/>
                  </a:lnTo>
                  <a:lnTo>
                    <a:pt x="1931229" y="1104900"/>
                  </a:lnTo>
                  <a:lnTo>
                    <a:pt x="1962715" y="977900"/>
                  </a:lnTo>
                  <a:close/>
                </a:path>
                <a:path w="2492375" h="2628900">
                  <a:moveTo>
                    <a:pt x="803661" y="1054100"/>
                  </a:moveTo>
                  <a:lnTo>
                    <a:pt x="792457" y="1054100"/>
                  </a:lnTo>
                  <a:lnTo>
                    <a:pt x="679162" y="1117600"/>
                  </a:lnTo>
                  <a:lnTo>
                    <a:pt x="660116" y="1130300"/>
                  </a:lnTo>
                  <a:lnTo>
                    <a:pt x="625928" y="1206500"/>
                  </a:lnTo>
                  <a:lnTo>
                    <a:pt x="635854" y="1206500"/>
                  </a:lnTo>
                  <a:lnTo>
                    <a:pt x="736247" y="1161572"/>
                  </a:lnTo>
                  <a:lnTo>
                    <a:pt x="746752" y="1155700"/>
                  </a:lnTo>
                  <a:lnTo>
                    <a:pt x="749369" y="1155700"/>
                  </a:lnTo>
                  <a:lnTo>
                    <a:pt x="769683" y="1130300"/>
                  </a:lnTo>
                  <a:lnTo>
                    <a:pt x="803661" y="1054100"/>
                  </a:lnTo>
                  <a:close/>
                </a:path>
                <a:path w="2492375" h="2628900">
                  <a:moveTo>
                    <a:pt x="1630212" y="1104900"/>
                  </a:moveTo>
                  <a:lnTo>
                    <a:pt x="1430760" y="1193060"/>
                  </a:lnTo>
                  <a:lnTo>
                    <a:pt x="1431956" y="1193800"/>
                  </a:lnTo>
                  <a:lnTo>
                    <a:pt x="1631392" y="1105531"/>
                  </a:lnTo>
                  <a:lnTo>
                    <a:pt x="1630212" y="1104900"/>
                  </a:lnTo>
                  <a:close/>
                </a:path>
                <a:path w="2492375" h="2628900">
                  <a:moveTo>
                    <a:pt x="1698670" y="965200"/>
                  </a:moveTo>
                  <a:lnTo>
                    <a:pt x="1675058" y="965200"/>
                  </a:lnTo>
                  <a:lnTo>
                    <a:pt x="1476227" y="1054100"/>
                  </a:lnTo>
                  <a:lnTo>
                    <a:pt x="1446531" y="1079500"/>
                  </a:lnTo>
                  <a:lnTo>
                    <a:pt x="1411433" y="1181100"/>
                  </a:lnTo>
                  <a:lnTo>
                    <a:pt x="1430760" y="1193060"/>
                  </a:lnTo>
                  <a:lnTo>
                    <a:pt x="1630212" y="1104900"/>
                  </a:lnTo>
                  <a:lnTo>
                    <a:pt x="1632819" y="1104900"/>
                  </a:lnTo>
                  <a:lnTo>
                    <a:pt x="1665635" y="1079500"/>
                  </a:lnTo>
                  <a:lnTo>
                    <a:pt x="1698670" y="965200"/>
                  </a:lnTo>
                  <a:close/>
                </a:path>
                <a:path w="2492375" h="2628900">
                  <a:moveTo>
                    <a:pt x="2210047" y="1181100"/>
                  </a:moveTo>
                  <a:lnTo>
                    <a:pt x="2194189" y="1186933"/>
                  </a:lnTo>
                  <a:lnTo>
                    <a:pt x="2211109" y="1181480"/>
                  </a:lnTo>
                  <a:lnTo>
                    <a:pt x="2210047" y="1181100"/>
                  </a:lnTo>
                  <a:close/>
                </a:path>
                <a:path w="2492375" h="2628900">
                  <a:moveTo>
                    <a:pt x="2212288" y="1181100"/>
                  </a:moveTo>
                  <a:lnTo>
                    <a:pt x="2210047" y="1181100"/>
                  </a:lnTo>
                  <a:lnTo>
                    <a:pt x="2211109" y="1181480"/>
                  </a:lnTo>
                  <a:lnTo>
                    <a:pt x="2212288" y="1181100"/>
                  </a:lnTo>
                  <a:close/>
                </a:path>
                <a:path w="2492375" h="2628900">
                  <a:moveTo>
                    <a:pt x="1271479" y="990600"/>
                  </a:moveTo>
                  <a:lnTo>
                    <a:pt x="1254464" y="990600"/>
                  </a:lnTo>
                  <a:lnTo>
                    <a:pt x="1099935" y="1066800"/>
                  </a:lnTo>
                  <a:lnTo>
                    <a:pt x="1075621" y="1079500"/>
                  </a:lnTo>
                  <a:lnTo>
                    <a:pt x="1040209" y="1181100"/>
                  </a:lnTo>
                  <a:lnTo>
                    <a:pt x="1055151" y="1181100"/>
                  </a:lnTo>
                  <a:lnTo>
                    <a:pt x="1210717" y="1104900"/>
                  </a:lnTo>
                  <a:lnTo>
                    <a:pt x="1237040" y="1079500"/>
                  </a:lnTo>
                  <a:lnTo>
                    <a:pt x="1271479" y="990600"/>
                  </a:lnTo>
                  <a:close/>
                </a:path>
                <a:path w="2492375" h="2628900">
                  <a:moveTo>
                    <a:pt x="749369" y="1155700"/>
                  </a:moveTo>
                  <a:lnTo>
                    <a:pt x="746752" y="1155700"/>
                  </a:lnTo>
                  <a:lnTo>
                    <a:pt x="736247" y="1161572"/>
                  </a:lnTo>
                  <a:lnTo>
                    <a:pt x="749369" y="1155700"/>
                  </a:lnTo>
                  <a:close/>
                </a:path>
                <a:path w="2492375" h="2628900">
                  <a:moveTo>
                    <a:pt x="1098301" y="965200"/>
                  </a:moveTo>
                  <a:lnTo>
                    <a:pt x="1095673" y="965200"/>
                  </a:lnTo>
                  <a:lnTo>
                    <a:pt x="957447" y="1041400"/>
                  </a:lnTo>
                  <a:lnTo>
                    <a:pt x="935353" y="1066800"/>
                  </a:lnTo>
                  <a:lnTo>
                    <a:pt x="900653" y="1155700"/>
                  </a:lnTo>
                  <a:lnTo>
                    <a:pt x="910904" y="1155700"/>
                  </a:lnTo>
                  <a:lnTo>
                    <a:pt x="1052292" y="1079500"/>
                  </a:lnTo>
                  <a:lnTo>
                    <a:pt x="1081138" y="1041400"/>
                  </a:lnTo>
                  <a:lnTo>
                    <a:pt x="960180" y="1041400"/>
                  </a:lnTo>
                  <a:lnTo>
                    <a:pt x="1098301" y="965200"/>
                  </a:lnTo>
                  <a:close/>
                </a:path>
                <a:path w="2492375" h="2628900">
                  <a:moveTo>
                    <a:pt x="970619" y="952500"/>
                  </a:moveTo>
                  <a:lnTo>
                    <a:pt x="960326" y="952500"/>
                  </a:lnTo>
                  <a:lnTo>
                    <a:pt x="945003" y="960308"/>
                  </a:lnTo>
                  <a:lnTo>
                    <a:pt x="833168" y="1028700"/>
                  </a:lnTo>
                  <a:lnTo>
                    <a:pt x="812823" y="1041400"/>
                  </a:lnTo>
                  <a:lnTo>
                    <a:pt x="778834" y="1130300"/>
                  </a:lnTo>
                  <a:lnTo>
                    <a:pt x="787599" y="1130300"/>
                  </a:lnTo>
                  <a:lnTo>
                    <a:pt x="912432" y="1066800"/>
                  </a:lnTo>
                  <a:lnTo>
                    <a:pt x="915050" y="1066800"/>
                  </a:lnTo>
                  <a:lnTo>
                    <a:pt x="936987" y="1041400"/>
                  </a:lnTo>
                  <a:lnTo>
                    <a:pt x="970619" y="952500"/>
                  </a:lnTo>
                  <a:close/>
                </a:path>
                <a:path w="2492375" h="2628900">
                  <a:moveTo>
                    <a:pt x="925196" y="1066800"/>
                  </a:moveTo>
                  <a:lnTo>
                    <a:pt x="915050" y="1066800"/>
                  </a:lnTo>
                  <a:lnTo>
                    <a:pt x="790153" y="1130300"/>
                  </a:lnTo>
                  <a:lnTo>
                    <a:pt x="900440" y="1130300"/>
                  </a:lnTo>
                  <a:lnTo>
                    <a:pt x="925196" y="1066800"/>
                  </a:lnTo>
                  <a:close/>
                </a:path>
                <a:path w="2492375" h="2628900">
                  <a:moveTo>
                    <a:pt x="1632819" y="1104900"/>
                  </a:moveTo>
                  <a:lnTo>
                    <a:pt x="1630212" y="1104900"/>
                  </a:lnTo>
                  <a:lnTo>
                    <a:pt x="1631392" y="1105531"/>
                  </a:lnTo>
                  <a:lnTo>
                    <a:pt x="1632819" y="1104900"/>
                  </a:lnTo>
                  <a:close/>
                </a:path>
                <a:path w="2492375" h="2628900">
                  <a:moveTo>
                    <a:pt x="836822" y="939800"/>
                  </a:moveTo>
                  <a:lnTo>
                    <a:pt x="704805" y="1028700"/>
                  </a:lnTo>
                  <a:lnTo>
                    <a:pt x="671634" y="1104900"/>
                  </a:lnTo>
                  <a:lnTo>
                    <a:pt x="681654" y="1104900"/>
                  </a:lnTo>
                  <a:lnTo>
                    <a:pt x="795022" y="1041400"/>
                  </a:lnTo>
                  <a:lnTo>
                    <a:pt x="815168" y="1028700"/>
                  </a:lnTo>
                  <a:lnTo>
                    <a:pt x="848162" y="952500"/>
                  </a:lnTo>
                  <a:lnTo>
                    <a:pt x="836822" y="939800"/>
                  </a:lnTo>
                  <a:close/>
                </a:path>
                <a:path w="2492375" h="2628900">
                  <a:moveTo>
                    <a:pt x="1999071" y="1096872"/>
                  </a:moveTo>
                  <a:lnTo>
                    <a:pt x="1978918" y="1104419"/>
                  </a:lnTo>
                  <a:lnTo>
                    <a:pt x="1980033" y="1104900"/>
                  </a:lnTo>
                  <a:lnTo>
                    <a:pt x="1999071" y="1096872"/>
                  </a:lnTo>
                  <a:close/>
                </a:path>
                <a:path w="2492375" h="2628900">
                  <a:moveTo>
                    <a:pt x="2320128" y="825500"/>
                  </a:moveTo>
                  <a:lnTo>
                    <a:pt x="2285731" y="825500"/>
                  </a:lnTo>
                  <a:lnTo>
                    <a:pt x="2042320" y="929862"/>
                  </a:lnTo>
                  <a:lnTo>
                    <a:pt x="2021477" y="939800"/>
                  </a:lnTo>
                  <a:lnTo>
                    <a:pt x="2019142" y="939800"/>
                  </a:lnTo>
                  <a:lnTo>
                    <a:pt x="1981751" y="977900"/>
                  </a:lnTo>
                  <a:lnTo>
                    <a:pt x="1950547" y="1092200"/>
                  </a:lnTo>
                  <a:lnTo>
                    <a:pt x="1978918" y="1104419"/>
                  </a:lnTo>
                  <a:lnTo>
                    <a:pt x="1999071" y="1096872"/>
                  </a:lnTo>
                  <a:lnTo>
                    <a:pt x="2251104" y="990600"/>
                  </a:lnTo>
                  <a:lnTo>
                    <a:pt x="2293343" y="952500"/>
                  </a:lnTo>
                  <a:lnTo>
                    <a:pt x="2296022" y="939800"/>
                  </a:lnTo>
                  <a:lnTo>
                    <a:pt x="2021477" y="939800"/>
                  </a:lnTo>
                  <a:lnTo>
                    <a:pt x="2020317" y="939296"/>
                  </a:lnTo>
                  <a:lnTo>
                    <a:pt x="2296128" y="939296"/>
                  </a:lnTo>
                  <a:lnTo>
                    <a:pt x="2320128" y="825500"/>
                  </a:lnTo>
                  <a:close/>
                </a:path>
                <a:path w="2492375" h="2628900">
                  <a:moveTo>
                    <a:pt x="1486237" y="863600"/>
                  </a:moveTo>
                  <a:lnTo>
                    <a:pt x="1483755" y="863600"/>
                  </a:lnTo>
                  <a:lnTo>
                    <a:pt x="1310556" y="952500"/>
                  </a:lnTo>
                  <a:lnTo>
                    <a:pt x="1284055" y="977900"/>
                  </a:lnTo>
                  <a:lnTo>
                    <a:pt x="1249668" y="1079500"/>
                  </a:lnTo>
                  <a:lnTo>
                    <a:pt x="1267217" y="1079500"/>
                  </a:lnTo>
                  <a:lnTo>
                    <a:pt x="1441767" y="990600"/>
                  </a:lnTo>
                  <a:lnTo>
                    <a:pt x="1470625" y="965200"/>
                  </a:lnTo>
                  <a:lnTo>
                    <a:pt x="1474757" y="952500"/>
                  </a:lnTo>
                  <a:lnTo>
                    <a:pt x="1313153" y="952500"/>
                  </a:lnTo>
                  <a:lnTo>
                    <a:pt x="1486237" y="863600"/>
                  </a:lnTo>
                  <a:close/>
                </a:path>
                <a:path w="2492375" h="2628900">
                  <a:moveTo>
                    <a:pt x="2003247" y="825500"/>
                  </a:moveTo>
                  <a:lnTo>
                    <a:pt x="1975060" y="825500"/>
                  </a:lnTo>
                  <a:lnTo>
                    <a:pt x="1747936" y="927100"/>
                  </a:lnTo>
                  <a:lnTo>
                    <a:pt x="1715120" y="952500"/>
                  </a:lnTo>
                  <a:lnTo>
                    <a:pt x="1682063" y="1066800"/>
                  </a:lnTo>
                  <a:lnTo>
                    <a:pt x="1706482" y="1066800"/>
                  </a:lnTo>
                  <a:lnTo>
                    <a:pt x="1936611" y="965200"/>
                  </a:lnTo>
                  <a:lnTo>
                    <a:pt x="1973280" y="939800"/>
                  </a:lnTo>
                  <a:lnTo>
                    <a:pt x="2003247" y="825500"/>
                  </a:lnTo>
                  <a:close/>
                </a:path>
                <a:path w="2492375" h="2628900">
                  <a:moveTo>
                    <a:pt x="1163172" y="931109"/>
                  </a:moveTo>
                  <a:lnTo>
                    <a:pt x="1145661" y="939800"/>
                  </a:lnTo>
                  <a:lnTo>
                    <a:pt x="1121641" y="965200"/>
                  </a:lnTo>
                  <a:lnTo>
                    <a:pt x="1087516" y="1054100"/>
                  </a:lnTo>
                  <a:lnTo>
                    <a:pt x="1102594" y="1054100"/>
                  </a:lnTo>
                  <a:lnTo>
                    <a:pt x="1257082" y="977900"/>
                  </a:lnTo>
                  <a:lnTo>
                    <a:pt x="1283081" y="952500"/>
                  </a:lnTo>
                  <a:lnTo>
                    <a:pt x="1287821" y="939800"/>
                  </a:lnTo>
                  <a:lnTo>
                    <a:pt x="1148163" y="939800"/>
                  </a:lnTo>
                  <a:lnTo>
                    <a:pt x="1163172" y="931109"/>
                  </a:lnTo>
                  <a:close/>
                </a:path>
                <a:path w="2492375" h="2628900">
                  <a:moveTo>
                    <a:pt x="1142603" y="850900"/>
                  </a:moveTo>
                  <a:lnTo>
                    <a:pt x="1140122" y="850900"/>
                  </a:lnTo>
                  <a:lnTo>
                    <a:pt x="1002597" y="927100"/>
                  </a:lnTo>
                  <a:lnTo>
                    <a:pt x="980661" y="952500"/>
                  </a:lnTo>
                  <a:lnTo>
                    <a:pt x="947081" y="1041400"/>
                  </a:lnTo>
                  <a:lnTo>
                    <a:pt x="957447" y="1041400"/>
                  </a:lnTo>
                  <a:lnTo>
                    <a:pt x="1095673" y="965200"/>
                  </a:lnTo>
                  <a:lnTo>
                    <a:pt x="1098301" y="965200"/>
                  </a:lnTo>
                  <a:lnTo>
                    <a:pt x="1121923" y="939800"/>
                  </a:lnTo>
                  <a:lnTo>
                    <a:pt x="1126634" y="927100"/>
                  </a:lnTo>
                  <a:lnTo>
                    <a:pt x="1005204" y="927100"/>
                  </a:lnTo>
                  <a:lnTo>
                    <a:pt x="1142603" y="850900"/>
                  </a:lnTo>
                  <a:close/>
                </a:path>
                <a:path w="2492375" h="2628900">
                  <a:moveTo>
                    <a:pt x="1110405" y="965200"/>
                  </a:moveTo>
                  <a:lnTo>
                    <a:pt x="1098301" y="965200"/>
                  </a:lnTo>
                  <a:lnTo>
                    <a:pt x="960180" y="1041400"/>
                  </a:lnTo>
                  <a:lnTo>
                    <a:pt x="1081138" y="1041400"/>
                  </a:lnTo>
                  <a:lnTo>
                    <a:pt x="1110405" y="965200"/>
                  </a:lnTo>
                  <a:close/>
                </a:path>
                <a:path w="2492375" h="2628900">
                  <a:moveTo>
                    <a:pt x="1014524" y="850900"/>
                  </a:moveTo>
                  <a:lnTo>
                    <a:pt x="1001540" y="850900"/>
                  </a:lnTo>
                  <a:lnTo>
                    <a:pt x="877460" y="927100"/>
                  </a:lnTo>
                  <a:lnTo>
                    <a:pt x="857282" y="939800"/>
                  </a:lnTo>
                  <a:lnTo>
                    <a:pt x="824351" y="1016000"/>
                  </a:lnTo>
                  <a:lnTo>
                    <a:pt x="835712" y="1016000"/>
                  </a:lnTo>
                  <a:lnTo>
                    <a:pt x="945003" y="960308"/>
                  </a:lnTo>
                  <a:lnTo>
                    <a:pt x="957771" y="952500"/>
                  </a:lnTo>
                  <a:lnTo>
                    <a:pt x="960326" y="952500"/>
                  </a:lnTo>
                  <a:lnTo>
                    <a:pt x="981970" y="927100"/>
                  </a:lnTo>
                  <a:lnTo>
                    <a:pt x="1014524" y="850900"/>
                  </a:lnTo>
                  <a:close/>
                </a:path>
                <a:path w="2492375" h="2628900">
                  <a:moveTo>
                    <a:pt x="1765653" y="736600"/>
                  </a:moveTo>
                  <a:lnTo>
                    <a:pt x="1742313" y="736600"/>
                  </a:lnTo>
                  <a:lnTo>
                    <a:pt x="1546790" y="838200"/>
                  </a:lnTo>
                  <a:lnTo>
                    <a:pt x="1517807" y="863600"/>
                  </a:lnTo>
                  <a:lnTo>
                    <a:pt x="1484907" y="965200"/>
                  </a:lnTo>
                  <a:lnTo>
                    <a:pt x="1505388" y="965200"/>
                  </a:lnTo>
                  <a:lnTo>
                    <a:pt x="1702859" y="863600"/>
                  </a:lnTo>
                  <a:lnTo>
                    <a:pt x="1734868" y="838200"/>
                  </a:lnTo>
                  <a:lnTo>
                    <a:pt x="1765653" y="736600"/>
                  </a:lnTo>
                  <a:close/>
                </a:path>
                <a:path w="2492375" h="2628900">
                  <a:moveTo>
                    <a:pt x="960326" y="952500"/>
                  </a:moveTo>
                  <a:lnTo>
                    <a:pt x="957771" y="952500"/>
                  </a:lnTo>
                  <a:lnTo>
                    <a:pt x="945003" y="960308"/>
                  </a:lnTo>
                  <a:lnTo>
                    <a:pt x="960326" y="952500"/>
                  </a:lnTo>
                  <a:close/>
                </a:path>
                <a:path w="2492375" h="2628900">
                  <a:moveTo>
                    <a:pt x="1529073" y="736600"/>
                  </a:moveTo>
                  <a:lnTo>
                    <a:pt x="1526634" y="736600"/>
                  </a:lnTo>
                  <a:lnTo>
                    <a:pt x="1354901" y="825500"/>
                  </a:lnTo>
                  <a:lnTo>
                    <a:pt x="1328776" y="850900"/>
                  </a:lnTo>
                  <a:lnTo>
                    <a:pt x="1295656" y="952500"/>
                  </a:lnTo>
                  <a:lnTo>
                    <a:pt x="1310556" y="952500"/>
                  </a:lnTo>
                  <a:lnTo>
                    <a:pt x="1483755" y="863600"/>
                  </a:lnTo>
                  <a:lnTo>
                    <a:pt x="1486237" y="863600"/>
                  </a:lnTo>
                  <a:lnTo>
                    <a:pt x="1514760" y="838200"/>
                  </a:lnTo>
                  <a:lnTo>
                    <a:pt x="1518723" y="825500"/>
                  </a:lnTo>
                  <a:lnTo>
                    <a:pt x="1357382" y="825500"/>
                  </a:lnTo>
                  <a:lnTo>
                    <a:pt x="1529073" y="736600"/>
                  </a:lnTo>
                  <a:close/>
                </a:path>
                <a:path w="2492375" h="2628900">
                  <a:moveTo>
                    <a:pt x="1503681" y="863600"/>
                  </a:moveTo>
                  <a:lnTo>
                    <a:pt x="1486237" y="863600"/>
                  </a:lnTo>
                  <a:lnTo>
                    <a:pt x="1313153" y="952500"/>
                  </a:lnTo>
                  <a:lnTo>
                    <a:pt x="1474757" y="952500"/>
                  </a:lnTo>
                  <a:lnTo>
                    <a:pt x="1503681" y="863600"/>
                  </a:lnTo>
                  <a:close/>
                </a:path>
                <a:path w="2492375" h="2628900">
                  <a:moveTo>
                    <a:pt x="1344723" y="736600"/>
                  </a:moveTo>
                  <a:lnTo>
                    <a:pt x="1342252" y="736600"/>
                  </a:lnTo>
                  <a:lnTo>
                    <a:pt x="1189754" y="825500"/>
                  </a:lnTo>
                  <a:lnTo>
                    <a:pt x="1166006" y="850900"/>
                  </a:lnTo>
                  <a:lnTo>
                    <a:pt x="1133117" y="939800"/>
                  </a:lnTo>
                  <a:lnTo>
                    <a:pt x="1145661" y="939800"/>
                  </a:lnTo>
                  <a:lnTo>
                    <a:pt x="1163172" y="931109"/>
                  </a:lnTo>
                  <a:lnTo>
                    <a:pt x="1301688" y="850900"/>
                  </a:lnTo>
                  <a:lnTo>
                    <a:pt x="1327456" y="825500"/>
                  </a:lnTo>
                  <a:lnTo>
                    <a:pt x="1192246" y="825500"/>
                  </a:lnTo>
                  <a:lnTo>
                    <a:pt x="1344723" y="736600"/>
                  </a:lnTo>
                  <a:close/>
                </a:path>
                <a:path w="2492375" h="2628900">
                  <a:moveTo>
                    <a:pt x="1316263" y="863600"/>
                  </a:moveTo>
                  <a:lnTo>
                    <a:pt x="1299196" y="863600"/>
                  </a:lnTo>
                  <a:lnTo>
                    <a:pt x="1163172" y="931109"/>
                  </a:lnTo>
                  <a:lnTo>
                    <a:pt x="1148163" y="939800"/>
                  </a:lnTo>
                  <a:lnTo>
                    <a:pt x="1287821" y="939800"/>
                  </a:lnTo>
                  <a:lnTo>
                    <a:pt x="1316263" y="863600"/>
                  </a:lnTo>
                  <a:close/>
                </a:path>
                <a:path w="2492375" h="2628900">
                  <a:moveTo>
                    <a:pt x="2042320" y="929862"/>
                  </a:moveTo>
                  <a:lnTo>
                    <a:pt x="2020317" y="939296"/>
                  </a:lnTo>
                  <a:lnTo>
                    <a:pt x="2021477" y="939800"/>
                  </a:lnTo>
                  <a:lnTo>
                    <a:pt x="2042320" y="929862"/>
                  </a:lnTo>
                  <a:close/>
                </a:path>
                <a:path w="2492375" h="2628900">
                  <a:moveTo>
                    <a:pt x="2354493" y="660400"/>
                  </a:moveTo>
                  <a:lnTo>
                    <a:pt x="2320714" y="660400"/>
                  </a:lnTo>
                  <a:lnTo>
                    <a:pt x="2058733" y="787400"/>
                  </a:lnTo>
                  <a:lnTo>
                    <a:pt x="2022074" y="812800"/>
                  </a:lnTo>
                  <a:lnTo>
                    <a:pt x="1992243" y="927100"/>
                  </a:lnTo>
                  <a:lnTo>
                    <a:pt x="2020317" y="939296"/>
                  </a:lnTo>
                  <a:lnTo>
                    <a:pt x="2042320" y="929862"/>
                  </a:lnTo>
                  <a:lnTo>
                    <a:pt x="2287846" y="812800"/>
                  </a:lnTo>
                  <a:lnTo>
                    <a:pt x="2329049" y="787400"/>
                  </a:lnTo>
                  <a:lnTo>
                    <a:pt x="2354493" y="660400"/>
                  </a:lnTo>
                  <a:close/>
                </a:path>
                <a:path w="2492375" h="2628900">
                  <a:moveTo>
                    <a:pt x="1197858" y="749300"/>
                  </a:moveTo>
                  <a:lnTo>
                    <a:pt x="1183000" y="749300"/>
                  </a:lnTo>
                  <a:lnTo>
                    <a:pt x="1046250" y="825500"/>
                  </a:lnTo>
                  <a:lnTo>
                    <a:pt x="1024492" y="838200"/>
                  </a:lnTo>
                  <a:lnTo>
                    <a:pt x="992022" y="927100"/>
                  </a:lnTo>
                  <a:lnTo>
                    <a:pt x="1002597" y="927100"/>
                  </a:lnTo>
                  <a:lnTo>
                    <a:pt x="1140122" y="850900"/>
                  </a:lnTo>
                  <a:lnTo>
                    <a:pt x="1142603" y="850900"/>
                  </a:lnTo>
                  <a:lnTo>
                    <a:pt x="1166006" y="825500"/>
                  </a:lnTo>
                  <a:lnTo>
                    <a:pt x="1197858" y="749300"/>
                  </a:lnTo>
                  <a:close/>
                </a:path>
                <a:path w="2492375" h="2628900">
                  <a:moveTo>
                    <a:pt x="1154896" y="850900"/>
                  </a:moveTo>
                  <a:lnTo>
                    <a:pt x="1142603" y="850900"/>
                  </a:lnTo>
                  <a:lnTo>
                    <a:pt x="1005204" y="927100"/>
                  </a:lnTo>
                  <a:lnTo>
                    <a:pt x="1126634" y="927100"/>
                  </a:lnTo>
                  <a:lnTo>
                    <a:pt x="1154896" y="850900"/>
                  </a:lnTo>
                  <a:close/>
                </a:path>
                <a:path w="2492375" h="2628900">
                  <a:moveTo>
                    <a:pt x="2038126" y="584200"/>
                  </a:moveTo>
                  <a:lnTo>
                    <a:pt x="2035990" y="584200"/>
                  </a:lnTo>
                  <a:lnTo>
                    <a:pt x="1813693" y="698500"/>
                  </a:lnTo>
                  <a:lnTo>
                    <a:pt x="1781725" y="723900"/>
                  </a:lnTo>
                  <a:lnTo>
                    <a:pt x="1750983" y="838200"/>
                  </a:lnTo>
                  <a:lnTo>
                    <a:pt x="1775118" y="838200"/>
                  </a:lnTo>
                  <a:lnTo>
                    <a:pt x="2000316" y="723900"/>
                  </a:lnTo>
                  <a:lnTo>
                    <a:pt x="2035864" y="698500"/>
                  </a:lnTo>
                  <a:lnTo>
                    <a:pt x="1816049" y="698500"/>
                  </a:lnTo>
                  <a:lnTo>
                    <a:pt x="2038126" y="584200"/>
                  </a:lnTo>
                  <a:close/>
                </a:path>
                <a:path w="2492375" h="2628900">
                  <a:moveTo>
                    <a:pt x="1400878" y="622300"/>
                  </a:moveTo>
                  <a:lnTo>
                    <a:pt x="1383895" y="622300"/>
                  </a:lnTo>
                  <a:lnTo>
                    <a:pt x="1232318" y="711200"/>
                  </a:lnTo>
                  <a:lnTo>
                    <a:pt x="1208895" y="736600"/>
                  </a:lnTo>
                  <a:lnTo>
                    <a:pt x="1177063" y="825500"/>
                  </a:lnTo>
                  <a:lnTo>
                    <a:pt x="1189754" y="825500"/>
                  </a:lnTo>
                  <a:lnTo>
                    <a:pt x="1342252" y="736600"/>
                  </a:lnTo>
                  <a:lnTo>
                    <a:pt x="1344723" y="736600"/>
                  </a:lnTo>
                  <a:lnTo>
                    <a:pt x="1370136" y="711200"/>
                  </a:lnTo>
                  <a:lnTo>
                    <a:pt x="1400878" y="622300"/>
                  </a:lnTo>
                  <a:close/>
                </a:path>
                <a:path w="2492375" h="2628900">
                  <a:moveTo>
                    <a:pt x="1359393" y="736600"/>
                  </a:moveTo>
                  <a:lnTo>
                    <a:pt x="1344723" y="736600"/>
                  </a:lnTo>
                  <a:lnTo>
                    <a:pt x="1192246" y="825500"/>
                  </a:lnTo>
                  <a:lnTo>
                    <a:pt x="1327456" y="825500"/>
                  </a:lnTo>
                  <a:lnTo>
                    <a:pt x="1359393" y="736600"/>
                  </a:lnTo>
                  <a:close/>
                </a:path>
                <a:path w="2492375" h="2628900">
                  <a:moveTo>
                    <a:pt x="1587595" y="609600"/>
                  </a:moveTo>
                  <a:lnTo>
                    <a:pt x="1567742" y="622300"/>
                  </a:lnTo>
                  <a:lnTo>
                    <a:pt x="1417045" y="701025"/>
                  </a:lnTo>
                  <a:lnTo>
                    <a:pt x="1400009" y="711200"/>
                  </a:lnTo>
                  <a:lnTo>
                    <a:pt x="1397570" y="711200"/>
                  </a:lnTo>
                  <a:lnTo>
                    <a:pt x="1371748" y="736600"/>
                  </a:lnTo>
                  <a:lnTo>
                    <a:pt x="1339896" y="825500"/>
                  </a:lnTo>
                  <a:lnTo>
                    <a:pt x="1354901" y="825500"/>
                  </a:lnTo>
                  <a:lnTo>
                    <a:pt x="1526634" y="736600"/>
                  </a:lnTo>
                  <a:lnTo>
                    <a:pt x="1529073" y="736600"/>
                  </a:lnTo>
                  <a:lnTo>
                    <a:pt x="1557125" y="711200"/>
                  </a:lnTo>
                  <a:lnTo>
                    <a:pt x="1400009" y="711200"/>
                  </a:lnTo>
                  <a:lnTo>
                    <a:pt x="1417045" y="701025"/>
                  </a:lnTo>
                  <a:lnTo>
                    <a:pt x="1560176" y="701025"/>
                  </a:lnTo>
                  <a:lnTo>
                    <a:pt x="1587595" y="609600"/>
                  </a:lnTo>
                  <a:close/>
                </a:path>
                <a:path w="2492375" h="2628900">
                  <a:moveTo>
                    <a:pt x="1546466" y="736600"/>
                  </a:moveTo>
                  <a:lnTo>
                    <a:pt x="1529073" y="736600"/>
                  </a:lnTo>
                  <a:lnTo>
                    <a:pt x="1357382" y="825500"/>
                  </a:lnTo>
                  <a:lnTo>
                    <a:pt x="1518723" y="825500"/>
                  </a:lnTo>
                  <a:lnTo>
                    <a:pt x="1546466" y="736600"/>
                  </a:lnTo>
                  <a:close/>
                </a:path>
                <a:path w="2492375" h="2628900">
                  <a:moveTo>
                    <a:pt x="1805578" y="596900"/>
                  </a:moveTo>
                  <a:lnTo>
                    <a:pt x="1782406" y="609600"/>
                  </a:lnTo>
                  <a:lnTo>
                    <a:pt x="1589103" y="711200"/>
                  </a:lnTo>
                  <a:lnTo>
                    <a:pt x="1560517" y="736600"/>
                  </a:lnTo>
                  <a:lnTo>
                    <a:pt x="1528895" y="825500"/>
                  </a:lnTo>
                  <a:lnTo>
                    <a:pt x="1549282" y="825500"/>
                  </a:lnTo>
                  <a:lnTo>
                    <a:pt x="1744596" y="723900"/>
                  </a:lnTo>
                  <a:lnTo>
                    <a:pt x="1776040" y="698500"/>
                  </a:lnTo>
                  <a:lnTo>
                    <a:pt x="1805578" y="596900"/>
                  </a:lnTo>
                  <a:close/>
                </a:path>
                <a:path w="2492375" h="2628900">
                  <a:moveTo>
                    <a:pt x="1627112" y="495300"/>
                  </a:moveTo>
                  <a:lnTo>
                    <a:pt x="1607375" y="495300"/>
                  </a:lnTo>
                  <a:lnTo>
                    <a:pt x="1438668" y="596900"/>
                  </a:lnTo>
                  <a:lnTo>
                    <a:pt x="1413265" y="622300"/>
                  </a:lnTo>
                  <a:lnTo>
                    <a:pt x="1382502" y="711200"/>
                  </a:lnTo>
                  <a:lnTo>
                    <a:pt x="1397570" y="711200"/>
                  </a:lnTo>
                  <a:lnTo>
                    <a:pt x="1417045" y="701025"/>
                  </a:lnTo>
                  <a:lnTo>
                    <a:pt x="1570130" y="609600"/>
                  </a:lnTo>
                  <a:lnTo>
                    <a:pt x="1597836" y="584200"/>
                  </a:lnTo>
                  <a:lnTo>
                    <a:pt x="1627112" y="495300"/>
                  </a:lnTo>
                  <a:close/>
                </a:path>
                <a:path w="2492375" h="2628900">
                  <a:moveTo>
                    <a:pt x="1843975" y="469900"/>
                  </a:moveTo>
                  <a:lnTo>
                    <a:pt x="1823002" y="469900"/>
                  </a:lnTo>
                  <a:lnTo>
                    <a:pt x="1803667" y="480181"/>
                  </a:lnTo>
                  <a:lnTo>
                    <a:pt x="1629667" y="584200"/>
                  </a:lnTo>
                  <a:lnTo>
                    <a:pt x="1601469" y="609600"/>
                  </a:lnTo>
                  <a:lnTo>
                    <a:pt x="1571083" y="698500"/>
                  </a:lnTo>
                  <a:lnTo>
                    <a:pt x="1591438" y="698500"/>
                  </a:lnTo>
                  <a:lnTo>
                    <a:pt x="1784699" y="596900"/>
                  </a:lnTo>
                  <a:lnTo>
                    <a:pt x="1815599" y="571500"/>
                  </a:lnTo>
                  <a:lnTo>
                    <a:pt x="1843975" y="469900"/>
                  </a:lnTo>
                  <a:close/>
                </a:path>
                <a:path w="2492375" h="2628900">
                  <a:moveTo>
                    <a:pt x="2099580" y="444500"/>
                  </a:moveTo>
                  <a:lnTo>
                    <a:pt x="2074219" y="444500"/>
                  </a:lnTo>
                  <a:lnTo>
                    <a:pt x="2054187" y="454951"/>
                  </a:lnTo>
                  <a:lnTo>
                    <a:pt x="1852990" y="571500"/>
                  </a:lnTo>
                  <a:lnTo>
                    <a:pt x="1821452" y="596900"/>
                  </a:lnTo>
                  <a:lnTo>
                    <a:pt x="1792029" y="698500"/>
                  </a:lnTo>
                  <a:lnTo>
                    <a:pt x="1813693" y="698500"/>
                  </a:lnTo>
                  <a:lnTo>
                    <a:pt x="2035990" y="584200"/>
                  </a:lnTo>
                  <a:lnTo>
                    <a:pt x="2038126" y="584200"/>
                  </a:lnTo>
                  <a:lnTo>
                    <a:pt x="2073025" y="546100"/>
                  </a:lnTo>
                  <a:lnTo>
                    <a:pt x="2099580" y="444500"/>
                  </a:lnTo>
                  <a:close/>
                </a:path>
                <a:path w="2492375" h="2628900">
                  <a:moveTo>
                    <a:pt x="2063675" y="584200"/>
                  </a:moveTo>
                  <a:lnTo>
                    <a:pt x="2038126" y="584200"/>
                  </a:lnTo>
                  <a:lnTo>
                    <a:pt x="1816049" y="698500"/>
                  </a:lnTo>
                  <a:lnTo>
                    <a:pt x="2035864" y="698500"/>
                  </a:lnTo>
                  <a:lnTo>
                    <a:pt x="2063675" y="584200"/>
                  </a:lnTo>
                  <a:close/>
                </a:path>
                <a:path w="2492375" h="2628900">
                  <a:moveTo>
                    <a:pt x="2405654" y="419100"/>
                  </a:moveTo>
                  <a:lnTo>
                    <a:pt x="2372597" y="419100"/>
                  </a:lnTo>
                  <a:lnTo>
                    <a:pt x="2117663" y="546100"/>
                  </a:lnTo>
                  <a:lnTo>
                    <a:pt x="2082072" y="571500"/>
                  </a:lnTo>
                  <a:lnTo>
                    <a:pt x="2054450" y="685800"/>
                  </a:lnTo>
                  <a:lnTo>
                    <a:pt x="2083119" y="685800"/>
                  </a:lnTo>
                  <a:lnTo>
                    <a:pt x="2342295" y="558800"/>
                  </a:lnTo>
                  <a:lnTo>
                    <a:pt x="2382126" y="533400"/>
                  </a:lnTo>
                  <a:lnTo>
                    <a:pt x="2405654" y="419100"/>
                  </a:lnTo>
                  <a:close/>
                </a:path>
                <a:path w="2492375" h="2628900">
                  <a:moveTo>
                    <a:pt x="1880675" y="355600"/>
                  </a:moveTo>
                  <a:lnTo>
                    <a:pt x="1857786" y="355600"/>
                  </a:lnTo>
                  <a:lnTo>
                    <a:pt x="1668629" y="457200"/>
                  </a:lnTo>
                  <a:lnTo>
                    <a:pt x="1640840" y="482600"/>
                  </a:lnTo>
                  <a:lnTo>
                    <a:pt x="1611710" y="571500"/>
                  </a:lnTo>
                  <a:lnTo>
                    <a:pt x="1631939" y="571500"/>
                  </a:lnTo>
                  <a:lnTo>
                    <a:pt x="1803667" y="480181"/>
                  </a:lnTo>
                  <a:lnTo>
                    <a:pt x="1820866" y="469900"/>
                  </a:lnTo>
                  <a:lnTo>
                    <a:pt x="1823002" y="469900"/>
                  </a:lnTo>
                  <a:lnTo>
                    <a:pt x="1853440" y="444500"/>
                  </a:lnTo>
                  <a:lnTo>
                    <a:pt x="1880675" y="355600"/>
                  </a:lnTo>
                  <a:close/>
                </a:path>
                <a:path w="2492375" h="2628900">
                  <a:moveTo>
                    <a:pt x="2133903" y="317500"/>
                  </a:moveTo>
                  <a:lnTo>
                    <a:pt x="2106784" y="317500"/>
                  </a:lnTo>
                  <a:lnTo>
                    <a:pt x="1911232" y="420882"/>
                  </a:lnTo>
                  <a:lnTo>
                    <a:pt x="1892654" y="431800"/>
                  </a:lnTo>
                  <a:lnTo>
                    <a:pt x="1890581" y="431800"/>
                  </a:lnTo>
                  <a:lnTo>
                    <a:pt x="1859639" y="469900"/>
                  </a:lnTo>
                  <a:lnTo>
                    <a:pt x="1831347" y="558800"/>
                  </a:lnTo>
                  <a:lnTo>
                    <a:pt x="1855147" y="558800"/>
                  </a:lnTo>
                  <a:lnTo>
                    <a:pt x="2054187" y="454951"/>
                  </a:lnTo>
                  <a:lnTo>
                    <a:pt x="2072230" y="444500"/>
                  </a:lnTo>
                  <a:lnTo>
                    <a:pt x="2074219" y="444500"/>
                  </a:lnTo>
                  <a:lnTo>
                    <a:pt x="2085632" y="431800"/>
                  </a:lnTo>
                  <a:lnTo>
                    <a:pt x="1892654" y="431800"/>
                  </a:lnTo>
                  <a:lnTo>
                    <a:pt x="1911232" y="420882"/>
                  </a:lnTo>
                  <a:lnTo>
                    <a:pt x="2095444" y="420882"/>
                  </a:lnTo>
                  <a:lnTo>
                    <a:pt x="2108459" y="406400"/>
                  </a:lnTo>
                  <a:lnTo>
                    <a:pt x="2133903" y="317500"/>
                  </a:lnTo>
                  <a:close/>
                </a:path>
                <a:path w="2492375" h="2628900">
                  <a:moveTo>
                    <a:pt x="2435842" y="266700"/>
                  </a:moveTo>
                  <a:lnTo>
                    <a:pt x="2405110" y="266700"/>
                  </a:lnTo>
                  <a:lnTo>
                    <a:pt x="2385712" y="276530"/>
                  </a:lnTo>
                  <a:lnTo>
                    <a:pt x="2152562" y="406400"/>
                  </a:lnTo>
                  <a:lnTo>
                    <a:pt x="2117558" y="431800"/>
                  </a:lnTo>
                  <a:lnTo>
                    <a:pt x="2091266" y="546100"/>
                  </a:lnTo>
                  <a:lnTo>
                    <a:pt x="2119705" y="533400"/>
                  </a:lnTo>
                  <a:lnTo>
                    <a:pt x="2374430" y="406400"/>
                  </a:lnTo>
                  <a:lnTo>
                    <a:pt x="2413476" y="381000"/>
                  </a:lnTo>
                  <a:lnTo>
                    <a:pt x="2435842" y="266700"/>
                  </a:lnTo>
                  <a:close/>
                </a:path>
                <a:path w="2492375" h="2628900">
                  <a:moveTo>
                    <a:pt x="1823002" y="469900"/>
                  </a:moveTo>
                  <a:lnTo>
                    <a:pt x="1820866" y="469900"/>
                  </a:lnTo>
                  <a:lnTo>
                    <a:pt x="1803667" y="480181"/>
                  </a:lnTo>
                  <a:lnTo>
                    <a:pt x="1823002" y="469900"/>
                  </a:lnTo>
                  <a:close/>
                </a:path>
                <a:path w="2492375" h="2628900">
                  <a:moveTo>
                    <a:pt x="2074219" y="444500"/>
                  </a:moveTo>
                  <a:lnTo>
                    <a:pt x="2072230" y="444500"/>
                  </a:lnTo>
                  <a:lnTo>
                    <a:pt x="2054187" y="454951"/>
                  </a:lnTo>
                  <a:lnTo>
                    <a:pt x="2074219" y="444500"/>
                  </a:lnTo>
                  <a:close/>
                </a:path>
                <a:path w="2492375" h="2628900">
                  <a:moveTo>
                    <a:pt x="2166719" y="177800"/>
                  </a:moveTo>
                  <a:lnTo>
                    <a:pt x="2139945" y="190500"/>
                  </a:lnTo>
                  <a:lnTo>
                    <a:pt x="1926642" y="317500"/>
                  </a:lnTo>
                  <a:lnTo>
                    <a:pt x="1896088" y="342900"/>
                  </a:lnTo>
                  <a:lnTo>
                    <a:pt x="1869042" y="431800"/>
                  </a:lnTo>
                  <a:lnTo>
                    <a:pt x="1890581" y="431800"/>
                  </a:lnTo>
                  <a:lnTo>
                    <a:pt x="1911232" y="420882"/>
                  </a:lnTo>
                  <a:lnTo>
                    <a:pt x="2108763" y="304800"/>
                  </a:lnTo>
                  <a:lnTo>
                    <a:pt x="2142479" y="279400"/>
                  </a:lnTo>
                  <a:lnTo>
                    <a:pt x="2166719" y="177800"/>
                  </a:lnTo>
                  <a:close/>
                </a:path>
                <a:path w="2492375" h="2628900">
                  <a:moveTo>
                    <a:pt x="2403361" y="266700"/>
                  </a:moveTo>
                  <a:lnTo>
                    <a:pt x="2185975" y="266700"/>
                  </a:lnTo>
                  <a:lnTo>
                    <a:pt x="2151683" y="304800"/>
                  </a:lnTo>
                  <a:lnTo>
                    <a:pt x="2126469" y="406400"/>
                  </a:lnTo>
                  <a:lnTo>
                    <a:pt x="2154520" y="393700"/>
                  </a:lnTo>
                  <a:lnTo>
                    <a:pt x="2385712" y="276530"/>
                  </a:lnTo>
                  <a:lnTo>
                    <a:pt x="2403361" y="266700"/>
                  </a:lnTo>
                  <a:close/>
                </a:path>
                <a:path w="2492375" h="2628900">
                  <a:moveTo>
                    <a:pt x="2464584" y="127000"/>
                  </a:moveTo>
                  <a:lnTo>
                    <a:pt x="2432658" y="139700"/>
                  </a:lnTo>
                  <a:lnTo>
                    <a:pt x="2206008" y="256386"/>
                  </a:lnTo>
                  <a:lnTo>
                    <a:pt x="2187818" y="266700"/>
                  </a:lnTo>
                  <a:lnTo>
                    <a:pt x="2403361" y="266700"/>
                  </a:lnTo>
                  <a:lnTo>
                    <a:pt x="2385712" y="276530"/>
                  </a:lnTo>
                  <a:lnTo>
                    <a:pt x="2405110" y="266700"/>
                  </a:lnTo>
                  <a:lnTo>
                    <a:pt x="2443339" y="228600"/>
                  </a:lnTo>
                  <a:lnTo>
                    <a:pt x="2464584" y="127000"/>
                  </a:lnTo>
                  <a:close/>
                </a:path>
                <a:path w="2492375" h="2628900">
                  <a:moveTo>
                    <a:pt x="2492091" y="0"/>
                  </a:moveTo>
                  <a:lnTo>
                    <a:pt x="2460542" y="0"/>
                  </a:lnTo>
                  <a:lnTo>
                    <a:pt x="2217890" y="139700"/>
                  </a:lnTo>
                  <a:lnTo>
                    <a:pt x="2184237" y="177800"/>
                  </a:lnTo>
                  <a:lnTo>
                    <a:pt x="2160154" y="266700"/>
                  </a:lnTo>
                  <a:lnTo>
                    <a:pt x="2185975" y="266700"/>
                  </a:lnTo>
                  <a:lnTo>
                    <a:pt x="2206008" y="256386"/>
                  </a:lnTo>
                  <a:lnTo>
                    <a:pt x="2434208" y="127000"/>
                  </a:lnTo>
                  <a:lnTo>
                    <a:pt x="2471683" y="88900"/>
                  </a:lnTo>
                  <a:lnTo>
                    <a:pt x="2492091" y="0"/>
                  </a:lnTo>
                  <a:close/>
                </a:path>
              </a:pathLst>
            </a:custGeom>
            <a:solidFill>
              <a:srgbClr val="0051D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object 297">
              <a:extLst>
                <a:ext uri="{FF2B5EF4-FFF2-40B4-BE49-F238E27FC236}">
                  <a16:creationId xmlns:a16="http://schemas.microsoft.com/office/drawing/2014/main" id="{C1F5B4B9-8EBF-49AB-9B6C-6345EAB07F27}"/>
                </a:ext>
              </a:extLst>
            </p:cNvPr>
            <p:cNvSpPr/>
            <p:nvPr/>
          </p:nvSpPr>
          <p:spPr>
            <a:xfrm>
              <a:off x="4640488" y="6293336"/>
              <a:ext cx="2626995" cy="2761615"/>
            </a:xfrm>
            <a:custGeom>
              <a:avLst/>
              <a:gdLst/>
              <a:ahLst/>
              <a:cxnLst/>
              <a:rect l="l" t="t" r="r" b="b"/>
              <a:pathLst>
                <a:path w="2626995" h="2761615">
                  <a:moveTo>
                    <a:pt x="2626925" y="0"/>
                  </a:moveTo>
                  <a:lnTo>
                    <a:pt x="739045" y="1105034"/>
                  </a:lnTo>
                  <a:lnTo>
                    <a:pt x="0" y="2761371"/>
                  </a:lnTo>
                  <a:lnTo>
                    <a:pt x="2626925" y="0"/>
                  </a:lnTo>
                  <a:close/>
                </a:path>
              </a:pathLst>
            </a:custGeom>
            <a:solidFill>
              <a:srgbClr val="FFFFFF">
                <a:alpha val="3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62" name="object 298">
              <a:extLst>
                <a:ext uri="{FF2B5EF4-FFF2-40B4-BE49-F238E27FC236}">
                  <a16:creationId xmlns:a16="http://schemas.microsoft.com/office/drawing/2014/main" id="{BBAD6D59-5DB2-450A-A052-04E28E2DB146}"/>
                </a:ext>
              </a:extLst>
            </p:cNvPr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9219703" y="6767207"/>
              <a:ext cx="6389779" cy="3005936"/>
            </a:xfrm>
            <a:prstGeom prst="rect">
              <a:avLst/>
            </a:prstGeom>
          </p:spPr>
        </p:pic>
        <p:sp>
          <p:nvSpPr>
            <p:cNvPr id="263" name="object 299">
              <a:extLst>
                <a:ext uri="{FF2B5EF4-FFF2-40B4-BE49-F238E27FC236}">
                  <a16:creationId xmlns:a16="http://schemas.microsoft.com/office/drawing/2014/main" id="{3F048DE0-57AC-40CB-B744-0AADD7FDBBFD}"/>
                </a:ext>
              </a:extLst>
            </p:cNvPr>
            <p:cNvSpPr/>
            <p:nvPr/>
          </p:nvSpPr>
          <p:spPr>
            <a:xfrm>
              <a:off x="11806640" y="6768229"/>
              <a:ext cx="20955" cy="2489200"/>
            </a:xfrm>
            <a:custGeom>
              <a:avLst/>
              <a:gdLst/>
              <a:ahLst/>
              <a:cxnLst/>
              <a:rect l="l" t="t" r="r" b="b"/>
              <a:pathLst>
                <a:path w="20954" h="2489200">
                  <a:moveTo>
                    <a:pt x="20627" y="0"/>
                  </a:moveTo>
                  <a:lnTo>
                    <a:pt x="0" y="1151"/>
                  </a:lnTo>
                  <a:lnTo>
                    <a:pt x="0" y="2488929"/>
                  </a:lnTo>
                  <a:lnTo>
                    <a:pt x="20627" y="2488929"/>
                  </a:lnTo>
                  <a:lnTo>
                    <a:pt x="20627" y="0"/>
                  </a:lnTo>
                  <a:close/>
                </a:path>
              </a:pathLst>
            </a:custGeom>
            <a:solidFill>
              <a:srgbClr val="90949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object 300">
              <a:extLst>
                <a:ext uri="{FF2B5EF4-FFF2-40B4-BE49-F238E27FC236}">
                  <a16:creationId xmlns:a16="http://schemas.microsoft.com/office/drawing/2014/main" id="{83F70ED4-1B19-467F-BD47-4A4C42B142BD}"/>
                </a:ext>
              </a:extLst>
            </p:cNvPr>
            <p:cNvSpPr/>
            <p:nvPr/>
          </p:nvSpPr>
          <p:spPr>
            <a:xfrm>
              <a:off x="11976890" y="7228660"/>
              <a:ext cx="3103245" cy="104775"/>
            </a:xfrm>
            <a:custGeom>
              <a:avLst/>
              <a:gdLst/>
              <a:ahLst/>
              <a:cxnLst/>
              <a:rect l="l" t="t" r="r" b="b"/>
              <a:pathLst>
                <a:path w="3103244" h="104775">
                  <a:moveTo>
                    <a:pt x="2997783" y="0"/>
                  </a:moveTo>
                  <a:lnTo>
                    <a:pt x="100960" y="0"/>
                  </a:lnTo>
                  <a:lnTo>
                    <a:pt x="62372" y="7617"/>
                  </a:lnTo>
                  <a:lnTo>
                    <a:pt x="30756" y="28370"/>
                  </a:lnTo>
                  <a:lnTo>
                    <a:pt x="9003" y="59113"/>
                  </a:lnTo>
                  <a:lnTo>
                    <a:pt x="0" y="96698"/>
                  </a:lnTo>
                  <a:lnTo>
                    <a:pt x="14912" y="70946"/>
                  </a:lnTo>
                  <a:lnTo>
                    <a:pt x="36568" y="50655"/>
                  </a:lnTo>
                  <a:lnTo>
                    <a:pt x="63562" y="37358"/>
                  </a:lnTo>
                  <a:lnTo>
                    <a:pt x="94489" y="32585"/>
                  </a:lnTo>
                  <a:lnTo>
                    <a:pt x="3003845" y="32585"/>
                  </a:lnTo>
                  <a:lnTo>
                    <a:pt x="3036821" y="37892"/>
                  </a:lnTo>
                  <a:lnTo>
                    <a:pt x="3065618" y="52744"/>
                  </a:lnTo>
                  <a:lnTo>
                    <a:pt x="3088377" y="75540"/>
                  </a:lnTo>
                  <a:lnTo>
                    <a:pt x="3103235" y="104677"/>
                  </a:lnTo>
                  <a:lnTo>
                    <a:pt x="3100596" y="87913"/>
                  </a:lnTo>
                  <a:lnTo>
                    <a:pt x="3088379" y="52823"/>
                  </a:lnTo>
                  <a:lnTo>
                    <a:pt x="3065418" y="24975"/>
                  </a:lnTo>
                  <a:lnTo>
                    <a:pt x="3034342" y="6618"/>
                  </a:lnTo>
                  <a:lnTo>
                    <a:pt x="2997783" y="0"/>
                  </a:lnTo>
                  <a:close/>
                </a:path>
              </a:pathLst>
            </a:custGeom>
            <a:solidFill>
              <a:srgbClr val="909495">
                <a:alpha val="3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object 301">
              <a:extLst>
                <a:ext uri="{FF2B5EF4-FFF2-40B4-BE49-F238E27FC236}">
                  <a16:creationId xmlns:a16="http://schemas.microsoft.com/office/drawing/2014/main" id="{CF6865EB-6320-4F7A-8596-B64608237ED4}"/>
                </a:ext>
              </a:extLst>
            </p:cNvPr>
            <p:cNvSpPr/>
            <p:nvPr/>
          </p:nvSpPr>
          <p:spPr>
            <a:xfrm>
              <a:off x="12032982" y="7934235"/>
              <a:ext cx="3131820" cy="69215"/>
            </a:xfrm>
            <a:custGeom>
              <a:avLst/>
              <a:gdLst/>
              <a:ahLst/>
              <a:cxnLst/>
              <a:rect l="l" t="t" r="r" b="b"/>
              <a:pathLst>
                <a:path w="3131819" h="69215">
                  <a:moveTo>
                    <a:pt x="3131642" y="0"/>
                  </a:moveTo>
                  <a:lnTo>
                    <a:pt x="3083728" y="17329"/>
                  </a:lnTo>
                  <a:lnTo>
                    <a:pt x="69767" y="37789"/>
                  </a:lnTo>
                  <a:lnTo>
                    <a:pt x="50007" y="35970"/>
                  </a:lnTo>
                  <a:lnTo>
                    <a:pt x="31530" y="30483"/>
                  </a:lnTo>
                  <a:lnTo>
                    <a:pt x="14729" y="21710"/>
                  </a:lnTo>
                  <a:lnTo>
                    <a:pt x="0" y="10031"/>
                  </a:lnTo>
                  <a:lnTo>
                    <a:pt x="14891" y="33974"/>
                  </a:lnTo>
                  <a:lnTo>
                    <a:pt x="35784" y="52571"/>
                  </a:lnTo>
                  <a:lnTo>
                    <a:pt x="61334" y="64568"/>
                  </a:lnTo>
                  <a:lnTo>
                    <a:pt x="90196" y="68709"/>
                  </a:lnTo>
                  <a:lnTo>
                    <a:pt x="3062294" y="48270"/>
                  </a:lnTo>
                  <a:lnTo>
                    <a:pt x="3085207" y="44528"/>
                  </a:lnTo>
                  <a:lnTo>
                    <a:pt x="3105065" y="34442"/>
                  </a:lnTo>
                  <a:lnTo>
                    <a:pt x="3120874" y="19202"/>
                  </a:lnTo>
                  <a:lnTo>
                    <a:pt x="3131642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object 302">
              <a:extLst>
                <a:ext uri="{FF2B5EF4-FFF2-40B4-BE49-F238E27FC236}">
                  <a16:creationId xmlns:a16="http://schemas.microsoft.com/office/drawing/2014/main" id="{8C7CB0B9-6FED-46FD-9AB3-23C222777677}"/>
                </a:ext>
              </a:extLst>
            </p:cNvPr>
            <p:cNvSpPr/>
            <p:nvPr/>
          </p:nvSpPr>
          <p:spPr>
            <a:xfrm>
              <a:off x="13291218" y="6767218"/>
              <a:ext cx="20955" cy="2490470"/>
            </a:xfrm>
            <a:custGeom>
              <a:avLst/>
              <a:gdLst/>
              <a:ahLst/>
              <a:cxnLst/>
              <a:rect l="l" t="t" r="r" b="b"/>
              <a:pathLst>
                <a:path w="20955" h="2490470">
                  <a:moveTo>
                    <a:pt x="20617" y="0"/>
                  </a:moveTo>
                  <a:lnTo>
                    <a:pt x="0" y="0"/>
                  </a:lnTo>
                  <a:lnTo>
                    <a:pt x="0" y="2489945"/>
                  </a:lnTo>
                  <a:lnTo>
                    <a:pt x="20617" y="2489945"/>
                  </a:lnTo>
                  <a:lnTo>
                    <a:pt x="20617" y="0"/>
                  </a:lnTo>
                  <a:close/>
                </a:path>
              </a:pathLst>
            </a:custGeom>
            <a:solidFill>
              <a:srgbClr val="909495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object 303">
              <a:extLst>
                <a:ext uri="{FF2B5EF4-FFF2-40B4-BE49-F238E27FC236}">
                  <a16:creationId xmlns:a16="http://schemas.microsoft.com/office/drawing/2014/main" id="{5B5E432D-928F-418D-81B6-18786E5DFB09}"/>
                </a:ext>
              </a:extLst>
            </p:cNvPr>
            <p:cNvSpPr/>
            <p:nvPr/>
          </p:nvSpPr>
          <p:spPr>
            <a:xfrm>
              <a:off x="10423246" y="8819070"/>
              <a:ext cx="3596640" cy="282575"/>
            </a:xfrm>
            <a:custGeom>
              <a:avLst/>
              <a:gdLst/>
              <a:ahLst/>
              <a:cxnLst/>
              <a:rect l="l" t="t" r="r" b="b"/>
              <a:pathLst>
                <a:path w="3596640" h="282575">
                  <a:moveTo>
                    <a:pt x="3596183" y="0"/>
                  </a:moveTo>
                  <a:lnTo>
                    <a:pt x="0" y="0"/>
                  </a:lnTo>
                  <a:lnTo>
                    <a:pt x="41670" y="29733"/>
                  </a:lnTo>
                  <a:lnTo>
                    <a:pt x="79994" y="63498"/>
                  </a:lnTo>
                  <a:lnTo>
                    <a:pt x="114663" y="100987"/>
                  </a:lnTo>
                  <a:lnTo>
                    <a:pt x="145372" y="141894"/>
                  </a:lnTo>
                  <a:lnTo>
                    <a:pt x="171813" y="185912"/>
                  </a:lnTo>
                  <a:lnTo>
                    <a:pt x="193679" y="232734"/>
                  </a:lnTo>
                  <a:lnTo>
                    <a:pt x="210663" y="282054"/>
                  </a:lnTo>
                  <a:lnTo>
                    <a:pt x="3385540" y="282054"/>
                  </a:lnTo>
                  <a:lnTo>
                    <a:pt x="3402527" y="232734"/>
                  </a:lnTo>
                  <a:lnTo>
                    <a:pt x="3424393" y="185912"/>
                  </a:lnTo>
                  <a:lnTo>
                    <a:pt x="3450831" y="141894"/>
                  </a:lnTo>
                  <a:lnTo>
                    <a:pt x="3481535" y="100987"/>
                  </a:lnTo>
                  <a:lnTo>
                    <a:pt x="3516199" y="63498"/>
                  </a:lnTo>
                  <a:lnTo>
                    <a:pt x="3554518" y="29733"/>
                  </a:lnTo>
                  <a:lnTo>
                    <a:pt x="3596183" y="0"/>
                  </a:lnTo>
                  <a:close/>
                </a:path>
              </a:pathLst>
            </a:custGeom>
            <a:solidFill>
              <a:srgbClr val="364249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object 304">
              <a:extLst>
                <a:ext uri="{FF2B5EF4-FFF2-40B4-BE49-F238E27FC236}">
                  <a16:creationId xmlns:a16="http://schemas.microsoft.com/office/drawing/2014/main" id="{71DB5F09-8E63-4854-B8A1-FFACDA69E4AD}"/>
                </a:ext>
              </a:extLst>
            </p:cNvPr>
            <p:cNvSpPr/>
            <p:nvPr/>
          </p:nvSpPr>
          <p:spPr>
            <a:xfrm>
              <a:off x="11167457" y="8248742"/>
              <a:ext cx="4207510" cy="297815"/>
            </a:xfrm>
            <a:custGeom>
              <a:avLst/>
              <a:gdLst/>
              <a:ahLst/>
              <a:cxnLst/>
              <a:rect l="l" t="t" r="r" b="b"/>
              <a:pathLst>
                <a:path w="4207509" h="297815">
                  <a:moveTo>
                    <a:pt x="4207128" y="0"/>
                  </a:moveTo>
                  <a:lnTo>
                    <a:pt x="2393507" y="13214"/>
                  </a:lnTo>
                  <a:lnTo>
                    <a:pt x="1350724" y="48584"/>
                  </a:lnTo>
                  <a:lnTo>
                    <a:pt x="684361" y="133979"/>
                  </a:lnTo>
                  <a:lnTo>
                    <a:pt x="0" y="297268"/>
                  </a:lnTo>
                  <a:lnTo>
                    <a:pt x="796581" y="211333"/>
                  </a:lnTo>
                  <a:lnTo>
                    <a:pt x="1500350" y="167204"/>
                  </a:lnTo>
                  <a:lnTo>
                    <a:pt x="2505727" y="150946"/>
                  </a:lnTo>
                  <a:lnTo>
                    <a:pt x="4207128" y="148623"/>
                  </a:lnTo>
                  <a:lnTo>
                    <a:pt x="4207128" y="0"/>
                  </a:lnTo>
                  <a:close/>
                </a:path>
              </a:pathLst>
            </a:custGeom>
            <a:solidFill>
              <a:srgbClr val="E8EAEA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object 305">
              <a:extLst>
                <a:ext uri="{FF2B5EF4-FFF2-40B4-BE49-F238E27FC236}">
                  <a16:creationId xmlns:a16="http://schemas.microsoft.com/office/drawing/2014/main" id="{32C2EAF3-F053-4203-827C-7C4A57B75847}"/>
                </a:ext>
              </a:extLst>
            </p:cNvPr>
            <p:cNvSpPr/>
            <p:nvPr/>
          </p:nvSpPr>
          <p:spPr>
            <a:xfrm>
              <a:off x="10381196" y="7212818"/>
              <a:ext cx="4993640" cy="1953895"/>
            </a:xfrm>
            <a:custGeom>
              <a:avLst/>
              <a:gdLst/>
              <a:ahLst/>
              <a:cxnLst/>
              <a:rect l="l" t="t" r="r" b="b"/>
              <a:pathLst>
                <a:path w="4993640" h="1953895">
                  <a:moveTo>
                    <a:pt x="1098372" y="1287145"/>
                  </a:moveTo>
                  <a:lnTo>
                    <a:pt x="786257" y="1333195"/>
                  </a:lnTo>
                  <a:lnTo>
                    <a:pt x="937209" y="1318399"/>
                  </a:lnTo>
                  <a:lnTo>
                    <a:pt x="1098372" y="1287145"/>
                  </a:lnTo>
                  <a:close/>
                </a:path>
                <a:path w="4993640" h="1953895">
                  <a:moveTo>
                    <a:pt x="3774871" y="1064450"/>
                  </a:moveTo>
                  <a:lnTo>
                    <a:pt x="3327717" y="1067663"/>
                  </a:lnTo>
                  <a:lnTo>
                    <a:pt x="2349982" y="1099007"/>
                  </a:lnTo>
                  <a:lnTo>
                    <a:pt x="1679905" y="1174381"/>
                  </a:lnTo>
                  <a:lnTo>
                    <a:pt x="1278877" y="1252143"/>
                  </a:lnTo>
                  <a:lnTo>
                    <a:pt x="1281709" y="1223429"/>
                  </a:lnTo>
                  <a:lnTo>
                    <a:pt x="1287272" y="1161770"/>
                  </a:lnTo>
                  <a:lnTo>
                    <a:pt x="1292098" y="1102169"/>
                  </a:lnTo>
                  <a:lnTo>
                    <a:pt x="1296238" y="1043330"/>
                  </a:lnTo>
                  <a:lnTo>
                    <a:pt x="1299629" y="985647"/>
                  </a:lnTo>
                  <a:lnTo>
                    <a:pt x="1302156" y="929487"/>
                  </a:lnTo>
                  <a:lnTo>
                    <a:pt x="1303743" y="875131"/>
                  </a:lnTo>
                  <a:lnTo>
                    <a:pt x="1304302" y="822858"/>
                  </a:lnTo>
                  <a:lnTo>
                    <a:pt x="1303477" y="800315"/>
                  </a:lnTo>
                  <a:lnTo>
                    <a:pt x="1301140" y="740803"/>
                  </a:lnTo>
                  <a:lnTo>
                    <a:pt x="1299400" y="699287"/>
                  </a:lnTo>
                  <a:lnTo>
                    <a:pt x="1297279" y="651065"/>
                  </a:lnTo>
                  <a:lnTo>
                    <a:pt x="1294688" y="594779"/>
                  </a:lnTo>
                  <a:lnTo>
                    <a:pt x="1291920" y="537794"/>
                  </a:lnTo>
                  <a:lnTo>
                    <a:pt x="1288681" y="474446"/>
                  </a:lnTo>
                  <a:lnTo>
                    <a:pt x="1285074" y="407746"/>
                  </a:lnTo>
                  <a:lnTo>
                    <a:pt x="1281087" y="338518"/>
                  </a:lnTo>
                  <a:lnTo>
                    <a:pt x="1278547" y="297180"/>
                  </a:lnTo>
                  <a:lnTo>
                    <a:pt x="1278547" y="823302"/>
                  </a:lnTo>
                  <a:lnTo>
                    <a:pt x="1277988" y="875245"/>
                  </a:lnTo>
                  <a:lnTo>
                    <a:pt x="1276388" y="929703"/>
                  </a:lnTo>
                  <a:lnTo>
                    <a:pt x="1273822" y="986155"/>
                  </a:lnTo>
                  <a:lnTo>
                    <a:pt x="1270393" y="1044143"/>
                  </a:lnTo>
                  <a:lnTo>
                    <a:pt x="1266190" y="1103274"/>
                  </a:lnTo>
                  <a:lnTo>
                    <a:pt x="1261313" y="1163154"/>
                  </a:lnTo>
                  <a:lnTo>
                    <a:pt x="1256017" y="1221778"/>
                  </a:lnTo>
                  <a:lnTo>
                    <a:pt x="1098372" y="1287145"/>
                  </a:lnTo>
                  <a:lnTo>
                    <a:pt x="1251788" y="1264513"/>
                  </a:lnTo>
                  <a:lnTo>
                    <a:pt x="1243736" y="1341653"/>
                  </a:lnTo>
                  <a:lnTo>
                    <a:pt x="1237132" y="1400302"/>
                  </a:lnTo>
                  <a:lnTo>
                    <a:pt x="1230249" y="1458302"/>
                  </a:lnTo>
                  <a:lnTo>
                    <a:pt x="1223302" y="1514309"/>
                  </a:lnTo>
                  <a:lnTo>
                    <a:pt x="1216279" y="1568653"/>
                  </a:lnTo>
                  <a:lnTo>
                    <a:pt x="1208887" y="1623923"/>
                  </a:lnTo>
                  <a:lnTo>
                    <a:pt x="1202029" y="1673517"/>
                  </a:lnTo>
                  <a:lnTo>
                    <a:pt x="1195933" y="1716557"/>
                  </a:lnTo>
                  <a:lnTo>
                    <a:pt x="1189672" y="1759534"/>
                  </a:lnTo>
                  <a:lnTo>
                    <a:pt x="1183843" y="1798726"/>
                  </a:lnTo>
                  <a:lnTo>
                    <a:pt x="1173810" y="1864182"/>
                  </a:lnTo>
                  <a:lnTo>
                    <a:pt x="1164513" y="1904860"/>
                  </a:lnTo>
                  <a:lnTo>
                    <a:pt x="1125486" y="1927529"/>
                  </a:lnTo>
                  <a:lnTo>
                    <a:pt x="574154" y="1927529"/>
                  </a:lnTo>
                  <a:lnTo>
                    <a:pt x="534060" y="1912556"/>
                  </a:lnTo>
                  <a:lnTo>
                    <a:pt x="514045" y="1875231"/>
                  </a:lnTo>
                  <a:lnTo>
                    <a:pt x="499821" y="1800898"/>
                  </a:lnTo>
                  <a:lnTo>
                    <a:pt x="478675" y="1733092"/>
                  </a:lnTo>
                  <a:lnTo>
                    <a:pt x="453809" y="1673453"/>
                  </a:lnTo>
                  <a:lnTo>
                    <a:pt x="428459" y="1623631"/>
                  </a:lnTo>
                  <a:lnTo>
                    <a:pt x="405815" y="1585290"/>
                  </a:lnTo>
                  <a:lnTo>
                    <a:pt x="381533" y="1549603"/>
                  </a:lnTo>
                  <a:lnTo>
                    <a:pt x="328193" y="1500085"/>
                  </a:lnTo>
                  <a:lnTo>
                    <a:pt x="276898" y="1458302"/>
                  </a:lnTo>
                  <a:lnTo>
                    <a:pt x="227533" y="1422577"/>
                  </a:lnTo>
                  <a:lnTo>
                    <a:pt x="181229" y="1392618"/>
                  </a:lnTo>
                  <a:lnTo>
                    <a:pt x="139065" y="1368107"/>
                  </a:lnTo>
                  <a:lnTo>
                    <a:pt x="102146" y="1348765"/>
                  </a:lnTo>
                  <a:lnTo>
                    <a:pt x="71589" y="1334274"/>
                  </a:lnTo>
                  <a:lnTo>
                    <a:pt x="52692" y="1322171"/>
                  </a:lnTo>
                  <a:lnTo>
                    <a:pt x="38252" y="1305458"/>
                  </a:lnTo>
                  <a:lnTo>
                    <a:pt x="29019" y="1285354"/>
                  </a:lnTo>
                  <a:lnTo>
                    <a:pt x="25781" y="1263002"/>
                  </a:lnTo>
                  <a:lnTo>
                    <a:pt x="25781" y="673620"/>
                  </a:lnTo>
                  <a:lnTo>
                    <a:pt x="77597" y="610184"/>
                  </a:lnTo>
                  <a:lnTo>
                    <a:pt x="123024" y="558558"/>
                  </a:lnTo>
                  <a:lnTo>
                    <a:pt x="167652" y="508774"/>
                  </a:lnTo>
                  <a:lnTo>
                    <a:pt x="211150" y="461048"/>
                  </a:lnTo>
                  <a:lnTo>
                    <a:pt x="253212" y="415620"/>
                  </a:lnTo>
                  <a:lnTo>
                    <a:pt x="293522" y="372719"/>
                  </a:lnTo>
                  <a:lnTo>
                    <a:pt x="331774" y="332562"/>
                  </a:lnTo>
                  <a:lnTo>
                    <a:pt x="367626" y="295389"/>
                  </a:lnTo>
                  <a:lnTo>
                    <a:pt x="400786" y="261416"/>
                  </a:lnTo>
                  <a:lnTo>
                    <a:pt x="430923" y="230886"/>
                  </a:lnTo>
                  <a:lnTo>
                    <a:pt x="480885" y="181013"/>
                  </a:lnTo>
                  <a:lnTo>
                    <a:pt x="514959" y="147612"/>
                  </a:lnTo>
                  <a:lnTo>
                    <a:pt x="550786" y="122885"/>
                  </a:lnTo>
                  <a:lnTo>
                    <a:pt x="610514" y="103593"/>
                  </a:lnTo>
                  <a:lnTo>
                    <a:pt x="660514" y="91046"/>
                  </a:lnTo>
                  <a:lnTo>
                    <a:pt x="713270" y="79844"/>
                  </a:lnTo>
                  <a:lnTo>
                    <a:pt x="767905" y="69913"/>
                  </a:lnTo>
                  <a:lnTo>
                    <a:pt x="823569" y="61175"/>
                  </a:lnTo>
                  <a:lnTo>
                    <a:pt x="879398" y="53568"/>
                  </a:lnTo>
                  <a:lnTo>
                    <a:pt x="934529" y="47015"/>
                  </a:lnTo>
                  <a:lnTo>
                    <a:pt x="988085" y="41440"/>
                  </a:lnTo>
                  <a:lnTo>
                    <a:pt x="1039202" y="36779"/>
                  </a:lnTo>
                  <a:lnTo>
                    <a:pt x="1130693" y="29883"/>
                  </a:lnTo>
                  <a:lnTo>
                    <a:pt x="1202639" y="25717"/>
                  </a:lnTo>
                  <a:lnTo>
                    <a:pt x="1203744" y="25717"/>
                  </a:lnTo>
                  <a:lnTo>
                    <a:pt x="1235760" y="55308"/>
                  </a:lnTo>
                  <a:lnTo>
                    <a:pt x="1241209" y="126085"/>
                  </a:lnTo>
                  <a:lnTo>
                    <a:pt x="1246301" y="197713"/>
                  </a:lnTo>
                  <a:lnTo>
                    <a:pt x="1251026" y="269328"/>
                  </a:lnTo>
                  <a:lnTo>
                    <a:pt x="1255369" y="340118"/>
                  </a:lnTo>
                  <a:lnTo>
                    <a:pt x="1259344" y="409232"/>
                  </a:lnTo>
                  <a:lnTo>
                    <a:pt x="1262951" y="475818"/>
                  </a:lnTo>
                  <a:lnTo>
                    <a:pt x="1266190" y="539051"/>
                  </a:lnTo>
                  <a:lnTo>
                    <a:pt x="1269047" y="598093"/>
                  </a:lnTo>
                  <a:lnTo>
                    <a:pt x="1271625" y="653986"/>
                  </a:lnTo>
                  <a:lnTo>
                    <a:pt x="1273644" y="700214"/>
                  </a:lnTo>
                  <a:lnTo>
                    <a:pt x="1275384" y="741629"/>
                  </a:lnTo>
                  <a:lnTo>
                    <a:pt x="1277721" y="800938"/>
                  </a:lnTo>
                  <a:lnTo>
                    <a:pt x="1278547" y="823302"/>
                  </a:lnTo>
                  <a:lnTo>
                    <a:pt x="1278547" y="297180"/>
                  </a:lnTo>
                  <a:lnTo>
                    <a:pt x="1272006" y="195872"/>
                  </a:lnTo>
                  <a:lnTo>
                    <a:pt x="1266812" y="122885"/>
                  </a:lnTo>
                  <a:lnTo>
                    <a:pt x="1261440" y="53225"/>
                  </a:lnTo>
                  <a:lnTo>
                    <a:pt x="1250861" y="25717"/>
                  </a:lnTo>
                  <a:lnTo>
                    <a:pt x="1241958" y="14262"/>
                  </a:lnTo>
                  <a:lnTo>
                    <a:pt x="1223175" y="3251"/>
                  </a:lnTo>
                  <a:lnTo>
                    <a:pt x="1200797" y="0"/>
                  </a:lnTo>
                  <a:lnTo>
                    <a:pt x="1128814" y="4178"/>
                  </a:lnTo>
                  <a:lnTo>
                    <a:pt x="1036497" y="11150"/>
                  </a:lnTo>
                  <a:lnTo>
                    <a:pt x="984897" y="15875"/>
                  </a:lnTo>
                  <a:lnTo>
                    <a:pt x="930821" y="21513"/>
                  </a:lnTo>
                  <a:lnTo>
                    <a:pt x="875144" y="28155"/>
                  </a:lnTo>
                  <a:lnTo>
                    <a:pt x="818730" y="35864"/>
                  </a:lnTo>
                  <a:lnTo>
                    <a:pt x="762444" y="44729"/>
                  </a:lnTo>
                  <a:lnTo>
                    <a:pt x="707174" y="54800"/>
                  </a:lnTo>
                  <a:lnTo>
                    <a:pt x="653757" y="66179"/>
                  </a:lnTo>
                  <a:lnTo>
                    <a:pt x="603097" y="78917"/>
                  </a:lnTo>
                  <a:lnTo>
                    <a:pt x="556031" y="93103"/>
                  </a:lnTo>
                  <a:lnTo>
                    <a:pt x="510247" y="117614"/>
                  </a:lnTo>
                  <a:lnTo>
                    <a:pt x="478878" y="146786"/>
                  </a:lnTo>
                  <a:lnTo>
                    <a:pt x="432320" y="192874"/>
                  </a:lnTo>
                  <a:lnTo>
                    <a:pt x="404355" y="220967"/>
                  </a:lnTo>
                  <a:lnTo>
                    <a:pt x="373608" y="252183"/>
                  </a:lnTo>
                  <a:lnTo>
                    <a:pt x="340309" y="286372"/>
                  </a:lnTo>
                  <a:lnTo>
                    <a:pt x="304723" y="323367"/>
                  </a:lnTo>
                  <a:lnTo>
                    <a:pt x="267093" y="362991"/>
                  </a:lnTo>
                  <a:lnTo>
                    <a:pt x="227660" y="405079"/>
                  </a:lnTo>
                  <a:lnTo>
                    <a:pt x="186664" y="449478"/>
                  </a:lnTo>
                  <a:lnTo>
                    <a:pt x="144360" y="495998"/>
                  </a:lnTo>
                  <a:lnTo>
                    <a:pt x="101003" y="544487"/>
                  </a:lnTo>
                  <a:lnTo>
                    <a:pt x="56832" y="594779"/>
                  </a:lnTo>
                  <a:lnTo>
                    <a:pt x="12090" y="646696"/>
                  </a:lnTo>
                  <a:lnTo>
                    <a:pt x="0" y="679513"/>
                  </a:lnTo>
                  <a:lnTo>
                    <a:pt x="0" y="1263002"/>
                  </a:lnTo>
                  <a:lnTo>
                    <a:pt x="16598" y="1319441"/>
                  </a:lnTo>
                  <a:lnTo>
                    <a:pt x="60985" y="1357757"/>
                  </a:lnTo>
                  <a:lnTo>
                    <a:pt x="90728" y="1371866"/>
                  </a:lnTo>
                  <a:lnTo>
                    <a:pt x="126644" y="1390688"/>
                  </a:lnTo>
                  <a:lnTo>
                    <a:pt x="167678" y="1414526"/>
                  </a:lnTo>
                  <a:lnTo>
                    <a:pt x="212750" y="1443672"/>
                  </a:lnTo>
                  <a:lnTo>
                    <a:pt x="260794" y="1478432"/>
                  </a:lnTo>
                  <a:lnTo>
                    <a:pt x="310756" y="1519072"/>
                  </a:lnTo>
                  <a:lnTo>
                    <a:pt x="361556" y="1565910"/>
                  </a:lnTo>
                  <a:lnTo>
                    <a:pt x="386575" y="1603502"/>
                  </a:lnTo>
                  <a:lnTo>
                    <a:pt x="408292" y="1641068"/>
                  </a:lnTo>
                  <a:lnTo>
                    <a:pt x="432269" y="1688985"/>
                  </a:lnTo>
                  <a:lnTo>
                    <a:pt x="455574" y="1745602"/>
                  </a:lnTo>
                  <a:lnTo>
                    <a:pt x="475272" y="1809305"/>
                  </a:lnTo>
                  <a:lnTo>
                    <a:pt x="488467" y="1878444"/>
                  </a:lnTo>
                  <a:lnTo>
                    <a:pt x="498005" y="1908136"/>
                  </a:lnTo>
                  <a:lnTo>
                    <a:pt x="517017" y="1931873"/>
                  </a:lnTo>
                  <a:lnTo>
                    <a:pt x="543179" y="1947608"/>
                  </a:lnTo>
                  <a:lnTo>
                    <a:pt x="574154" y="1953298"/>
                  </a:lnTo>
                  <a:lnTo>
                    <a:pt x="1125486" y="1953298"/>
                  </a:lnTo>
                  <a:lnTo>
                    <a:pt x="1150353" y="1948840"/>
                  </a:lnTo>
                  <a:lnTo>
                    <a:pt x="1171409" y="1936470"/>
                  </a:lnTo>
                  <a:lnTo>
                    <a:pt x="1178775" y="1927529"/>
                  </a:lnTo>
                  <a:lnTo>
                    <a:pt x="1186942" y="1917623"/>
                  </a:lnTo>
                  <a:lnTo>
                    <a:pt x="1199273" y="1868157"/>
                  </a:lnTo>
                  <a:lnTo>
                    <a:pt x="1209332" y="1802498"/>
                  </a:lnTo>
                  <a:lnTo>
                    <a:pt x="1215186" y="1763191"/>
                  </a:lnTo>
                  <a:lnTo>
                    <a:pt x="1221447" y="1720062"/>
                  </a:lnTo>
                  <a:lnTo>
                    <a:pt x="1228064" y="1673453"/>
                  </a:lnTo>
                  <a:lnTo>
                    <a:pt x="1234922" y="1623631"/>
                  </a:lnTo>
                  <a:lnTo>
                    <a:pt x="1241869" y="1571663"/>
                  </a:lnTo>
                  <a:lnTo>
                    <a:pt x="1248905" y="1517116"/>
                  </a:lnTo>
                  <a:lnTo>
                    <a:pt x="1256220" y="1458061"/>
                  </a:lnTo>
                  <a:lnTo>
                    <a:pt x="1262786" y="1402689"/>
                  </a:lnTo>
                  <a:lnTo>
                    <a:pt x="1269657" y="1341424"/>
                  </a:lnTo>
                  <a:lnTo>
                    <a:pt x="1275778" y="1283690"/>
                  </a:lnTo>
                  <a:lnTo>
                    <a:pt x="1278039" y="1260640"/>
                  </a:lnTo>
                  <a:lnTo>
                    <a:pt x="1907590" y="1167765"/>
                  </a:lnTo>
                  <a:lnTo>
                    <a:pt x="3302241" y="1078801"/>
                  </a:lnTo>
                  <a:lnTo>
                    <a:pt x="3774871" y="1064450"/>
                  </a:lnTo>
                  <a:close/>
                </a:path>
                <a:path w="4993640" h="1953895">
                  <a:moveTo>
                    <a:pt x="4993386" y="1035926"/>
                  </a:moveTo>
                  <a:lnTo>
                    <a:pt x="4490669" y="1042708"/>
                  </a:lnTo>
                  <a:lnTo>
                    <a:pt x="3774871" y="1064450"/>
                  </a:lnTo>
                  <a:lnTo>
                    <a:pt x="4993386" y="1055687"/>
                  </a:lnTo>
                  <a:lnTo>
                    <a:pt x="4993386" y="1035926"/>
                  </a:lnTo>
                  <a:close/>
                </a:path>
              </a:pathLst>
            </a:custGeom>
            <a:solidFill>
              <a:srgbClr val="909495">
                <a:alpha val="3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object 306">
              <a:extLst>
                <a:ext uri="{FF2B5EF4-FFF2-40B4-BE49-F238E27FC236}">
                  <a16:creationId xmlns:a16="http://schemas.microsoft.com/office/drawing/2014/main" id="{1B45AF02-B63B-43BE-BBE9-97F0035C4D7B}"/>
                </a:ext>
              </a:extLst>
            </p:cNvPr>
            <p:cNvSpPr/>
            <p:nvPr/>
          </p:nvSpPr>
          <p:spPr>
            <a:xfrm>
              <a:off x="9264942" y="8389276"/>
              <a:ext cx="342900" cy="357505"/>
            </a:xfrm>
            <a:custGeom>
              <a:avLst/>
              <a:gdLst/>
              <a:ahLst/>
              <a:cxnLst/>
              <a:rect l="l" t="t" r="r" b="b"/>
              <a:pathLst>
                <a:path w="342900" h="357504">
                  <a:moveTo>
                    <a:pt x="265312" y="0"/>
                  </a:moveTo>
                  <a:lnTo>
                    <a:pt x="214263" y="417"/>
                  </a:lnTo>
                  <a:lnTo>
                    <a:pt x="91964" y="13780"/>
                  </a:lnTo>
                  <a:lnTo>
                    <a:pt x="59372" y="68591"/>
                  </a:lnTo>
                  <a:lnTo>
                    <a:pt x="35160" y="121802"/>
                  </a:lnTo>
                  <a:lnTo>
                    <a:pt x="18224" y="172667"/>
                  </a:lnTo>
                  <a:lnTo>
                    <a:pt x="7456" y="220441"/>
                  </a:lnTo>
                  <a:lnTo>
                    <a:pt x="1750" y="264380"/>
                  </a:lnTo>
                  <a:lnTo>
                    <a:pt x="0" y="303738"/>
                  </a:lnTo>
                  <a:lnTo>
                    <a:pt x="1098" y="337771"/>
                  </a:lnTo>
                  <a:lnTo>
                    <a:pt x="45190" y="355403"/>
                  </a:lnTo>
                  <a:lnTo>
                    <a:pt x="74575" y="357419"/>
                  </a:lnTo>
                  <a:lnTo>
                    <a:pt x="102471" y="340345"/>
                  </a:lnTo>
                  <a:lnTo>
                    <a:pt x="142099" y="300704"/>
                  </a:lnTo>
                  <a:lnTo>
                    <a:pt x="197506" y="249013"/>
                  </a:lnTo>
                  <a:lnTo>
                    <a:pt x="234913" y="208845"/>
                  </a:lnTo>
                  <a:lnTo>
                    <a:pt x="271361" y="159556"/>
                  </a:lnTo>
                  <a:lnTo>
                    <a:pt x="323894" y="80501"/>
                  </a:lnTo>
                  <a:lnTo>
                    <a:pt x="337052" y="66133"/>
                  </a:lnTo>
                  <a:lnTo>
                    <a:pt x="342771" y="56809"/>
                  </a:lnTo>
                  <a:lnTo>
                    <a:pt x="342250" y="48450"/>
                  </a:lnTo>
                  <a:lnTo>
                    <a:pt x="336690" y="36974"/>
                  </a:lnTo>
                  <a:lnTo>
                    <a:pt x="299560" y="11345"/>
                  </a:lnTo>
                  <a:lnTo>
                    <a:pt x="265312" y="0"/>
                  </a:lnTo>
                  <a:close/>
                </a:path>
              </a:pathLst>
            </a:custGeom>
            <a:solidFill>
              <a:srgbClr val="EBE7C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71" name="object 307">
              <a:extLst>
                <a:ext uri="{FF2B5EF4-FFF2-40B4-BE49-F238E27FC236}">
                  <a16:creationId xmlns:a16="http://schemas.microsoft.com/office/drawing/2014/main" id="{E638D280-19EA-4C64-93E9-EAAC9D7DC9D0}"/>
                </a:ext>
              </a:extLst>
            </p:cNvPr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9316897" y="8451643"/>
              <a:ext cx="155617" cy="233531"/>
            </a:xfrm>
            <a:prstGeom prst="rect">
              <a:avLst/>
            </a:prstGeom>
          </p:spPr>
        </p:pic>
        <p:sp>
          <p:nvSpPr>
            <p:cNvPr id="272" name="object 308">
              <a:extLst>
                <a:ext uri="{FF2B5EF4-FFF2-40B4-BE49-F238E27FC236}">
                  <a16:creationId xmlns:a16="http://schemas.microsoft.com/office/drawing/2014/main" id="{CDCEAD93-7D9B-497F-BB4D-999B34E0D6A4}"/>
                </a:ext>
              </a:extLst>
            </p:cNvPr>
            <p:cNvSpPr/>
            <p:nvPr/>
          </p:nvSpPr>
          <p:spPr>
            <a:xfrm>
              <a:off x="9265012" y="8395816"/>
              <a:ext cx="342900" cy="340360"/>
            </a:xfrm>
            <a:custGeom>
              <a:avLst/>
              <a:gdLst/>
              <a:ahLst/>
              <a:cxnLst/>
              <a:rect l="l" t="t" r="r" b="b"/>
              <a:pathLst>
                <a:path w="342900" h="340359">
                  <a:moveTo>
                    <a:pt x="194421" y="0"/>
                  </a:moveTo>
                  <a:lnTo>
                    <a:pt x="144374" y="1493"/>
                  </a:lnTo>
                  <a:lnTo>
                    <a:pt x="91901" y="7245"/>
                  </a:lnTo>
                  <a:lnTo>
                    <a:pt x="59304" y="62052"/>
                  </a:lnTo>
                  <a:lnTo>
                    <a:pt x="35090" y="115260"/>
                  </a:lnTo>
                  <a:lnTo>
                    <a:pt x="18151" y="166124"/>
                  </a:lnTo>
                  <a:lnTo>
                    <a:pt x="7381" y="213899"/>
                  </a:lnTo>
                  <a:lnTo>
                    <a:pt x="1673" y="257839"/>
                  </a:lnTo>
                  <a:lnTo>
                    <a:pt x="0" y="299696"/>
                  </a:lnTo>
                  <a:lnTo>
                    <a:pt x="1014" y="331235"/>
                  </a:lnTo>
                  <a:lnTo>
                    <a:pt x="11523" y="335163"/>
                  </a:lnTo>
                  <a:lnTo>
                    <a:pt x="21886" y="337831"/>
                  </a:lnTo>
                  <a:lnTo>
                    <a:pt x="32067" y="339350"/>
                  </a:lnTo>
                  <a:lnTo>
                    <a:pt x="42028" y="339832"/>
                  </a:lnTo>
                  <a:lnTo>
                    <a:pt x="75225" y="339118"/>
                  </a:lnTo>
                  <a:lnTo>
                    <a:pt x="96708" y="334123"/>
                  </a:lnTo>
                  <a:lnTo>
                    <a:pt x="115853" y="320563"/>
                  </a:lnTo>
                  <a:lnTo>
                    <a:pt x="117180" y="319225"/>
                  </a:lnTo>
                  <a:lnTo>
                    <a:pt x="34866" y="319225"/>
                  </a:lnTo>
                  <a:lnTo>
                    <a:pt x="27788" y="318273"/>
                  </a:lnTo>
                  <a:lnTo>
                    <a:pt x="20866" y="316409"/>
                  </a:lnTo>
                  <a:lnTo>
                    <a:pt x="20991" y="277364"/>
                  </a:lnTo>
                  <a:lnTo>
                    <a:pt x="25018" y="233674"/>
                  </a:lnTo>
                  <a:lnTo>
                    <a:pt x="34128" y="186053"/>
                  </a:lnTo>
                  <a:lnTo>
                    <a:pt x="49499" y="135210"/>
                  </a:lnTo>
                  <a:lnTo>
                    <a:pt x="72311" y="81859"/>
                  </a:lnTo>
                  <a:lnTo>
                    <a:pt x="103744" y="26711"/>
                  </a:lnTo>
                  <a:lnTo>
                    <a:pt x="148241" y="22301"/>
                  </a:lnTo>
                  <a:lnTo>
                    <a:pt x="194421" y="20617"/>
                  </a:lnTo>
                  <a:lnTo>
                    <a:pt x="317578" y="20617"/>
                  </a:lnTo>
                  <a:lnTo>
                    <a:pt x="307009" y="15173"/>
                  </a:lnTo>
                  <a:lnTo>
                    <a:pt x="270872" y="5880"/>
                  </a:lnTo>
                  <a:lnTo>
                    <a:pt x="232061" y="1254"/>
                  </a:lnTo>
                  <a:lnTo>
                    <a:pt x="194421" y="0"/>
                  </a:lnTo>
                  <a:close/>
                </a:path>
                <a:path w="342900" h="340359">
                  <a:moveTo>
                    <a:pt x="317578" y="20617"/>
                  </a:moveTo>
                  <a:lnTo>
                    <a:pt x="194421" y="20617"/>
                  </a:lnTo>
                  <a:lnTo>
                    <a:pt x="233944" y="22074"/>
                  </a:lnTo>
                  <a:lnTo>
                    <a:pt x="268165" y="26365"/>
                  </a:lnTo>
                  <a:lnTo>
                    <a:pt x="296469" y="33365"/>
                  </a:lnTo>
                  <a:lnTo>
                    <a:pt x="318240" y="42951"/>
                  </a:lnTo>
                  <a:lnTo>
                    <a:pt x="317905" y="46480"/>
                  </a:lnTo>
                  <a:lnTo>
                    <a:pt x="315988" y="52249"/>
                  </a:lnTo>
                  <a:lnTo>
                    <a:pt x="307601" y="61108"/>
                  </a:lnTo>
                  <a:lnTo>
                    <a:pt x="306596" y="62636"/>
                  </a:lnTo>
                  <a:lnTo>
                    <a:pt x="280025" y="100870"/>
                  </a:lnTo>
                  <a:lnTo>
                    <a:pt x="250926" y="140178"/>
                  </a:lnTo>
                  <a:lnTo>
                    <a:pt x="214365" y="186293"/>
                  </a:lnTo>
                  <a:lnTo>
                    <a:pt x="172649" y="234222"/>
                  </a:lnTo>
                  <a:lnTo>
                    <a:pt x="128088" y="278975"/>
                  </a:lnTo>
                  <a:lnTo>
                    <a:pt x="127596" y="279426"/>
                  </a:lnTo>
                  <a:lnTo>
                    <a:pt x="127136" y="279907"/>
                  </a:lnTo>
                  <a:lnTo>
                    <a:pt x="120231" y="286196"/>
                  </a:lnTo>
                  <a:lnTo>
                    <a:pt x="101882" y="299696"/>
                  </a:lnTo>
                  <a:lnTo>
                    <a:pt x="74883" y="313131"/>
                  </a:lnTo>
                  <a:lnTo>
                    <a:pt x="42028" y="319225"/>
                  </a:lnTo>
                  <a:lnTo>
                    <a:pt x="117180" y="319225"/>
                  </a:lnTo>
                  <a:lnTo>
                    <a:pt x="142036" y="294158"/>
                  </a:lnTo>
                  <a:lnTo>
                    <a:pt x="197443" y="242473"/>
                  </a:lnTo>
                  <a:lnTo>
                    <a:pt x="234848" y="202307"/>
                  </a:lnTo>
                  <a:lnTo>
                    <a:pt x="271293" y="153016"/>
                  </a:lnTo>
                  <a:lnTo>
                    <a:pt x="323821" y="73955"/>
                  </a:lnTo>
                  <a:lnTo>
                    <a:pt x="336984" y="59593"/>
                  </a:lnTo>
                  <a:lnTo>
                    <a:pt x="342706" y="50272"/>
                  </a:lnTo>
                  <a:lnTo>
                    <a:pt x="342187" y="41910"/>
                  </a:lnTo>
                  <a:lnTo>
                    <a:pt x="336627" y="30428"/>
                  </a:lnTo>
                  <a:lnTo>
                    <a:pt x="317578" y="20617"/>
                  </a:lnTo>
                  <a:close/>
                </a:path>
              </a:pathLst>
            </a:custGeom>
            <a:solidFill>
              <a:srgbClr val="A6A8AB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3" name="object 309">
              <a:extLst>
                <a:ext uri="{FF2B5EF4-FFF2-40B4-BE49-F238E27FC236}">
                  <a16:creationId xmlns:a16="http://schemas.microsoft.com/office/drawing/2014/main" id="{524BC84B-745E-4B95-AA6E-991172791D0F}"/>
                </a:ext>
              </a:extLst>
            </p:cNvPr>
            <p:cNvSpPr/>
            <p:nvPr/>
          </p:nvSpPr>
          <p:spPr>
            <a:xfrm>
              <a:off x="10423259" y="8760072"/>
              <a:ext cx="5186680" cy="142875"/>
            </a:xfrm>
            <a:custGeom>
              <a:avLst/>
              <a:gdLst/>
              <a:ahLst/>
              <a:cxnLst/>
              <a:rect l="l" t="t" r="r" b="b"/>
              <a:pathLst>
                <a:path w="5186680" h="142875">
                  <a:moveTo>
                    <a:pt x="3596157" y="59004"/>
                  </a:moveTo>
                  <a:lnTo>
                    <a:pt x="0" y="59004"/>
                  </a:lnTo>
                  <a:lnTo>
                    <a:pt x="26847" y="77444"/>
                  </a:lnTo>
                  <a:lnTo>
                    <a:pt x="52387" y="97561"/>
                  </a:lnTo>
                  <a:lnTo>
                    <a:pt x="76542" y="119265"/>
                  </a:lnTo>
                  <a:lnTo>
                    <a:pt x="99237" y="142494"/>
                  </a:lnTo>
                  <a:lnTo>
                    <a:pt x="3496919" y="142494"/>
                  </a:lnTo>
                  <a:lnTo>
                    <a:pt x="3519614" y="119265"/>
                  </a:lnTo>
                  <a:lnTo>
                    <a:pt x="3543770" y="97561"/>
                  </a:lnTo>
                  <a:lnTo>
                    <a:pt x="3569309" y="77444"/>
                  </a:lnTo>
                  <a:lnTo>
                    <a:pt x="3596157" y="59004"/>
                  </a:lnTo>
                  <a:close/>
                </a:path>
                <a:path w="5186680" h="142875">
                  <a:moveTo>
                    <a:pt x="5186210" y="45046"/>
                  </a:moveTo>
                  <a:lnTo>
                    <a:pt x="5185511" y="18300"/>
                  </a:lnTo>
                  <a:lnTo>
                    <a:pt x="5180584" y="4686"/>
                  </a:lnTo>
                  <a:lnTo>
                    <a:pt x="5167223" y="0"/>
                  </a:lnTo>
                  <a:lnTo>
                    <a:pt x="5090553" y="25"/>
                  </a:lnTo>
                  <a:lnTo>
                    <a:pt x="4111548" y="47612"/>
                  </a:lnTo>
                  <a:lnTo>
                    <a:pt x="4136898" y="63322"/>
                  </a:lnTo>
                  <a:lnTo>
                    <a:pt x="4161180" y="80492"/>
                  </a:lnTo>
                  <a:lnTo>
                    <a:pt x="4184370" y="99060"/>
                  </a:lnTo>
                  <a:lnTo>
                    <a:pt x="4206405" y="118935"/>
                  </a:lnTo>
                  <a:lnTo>
                    <a:pt x="5182070" y="76542"/>
                  </a:lnTo>
                  <a:lnTo>
                    <a:pt x="5186210" y="45046"/>
                  </a:lnTo>
                  <a:close/>
                </a:path>
              </a:pathLst>
            </a:custGeom>
            <a:solidFill>
              <a:srgbClr val="45525A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4" name="object 310">
              <a:extLst>
                <a:ext uri="{FF2B5EF4-FFF2-40B4-BE49-F238E27FC236}">
                  <a16:creationId xmlns:a16="http://schemas.microsoft.com/office/drawing/2014/main" id="{563E7E46-97F7-4518-A326-1E151D14166B}"/>
                </a:ext>
              </a:extLst>
            </p:cNvPr>
            <p:cNvSpPr/>
            <p:nvPr/>
          </p:nvSpPr>
          <p:spPr>
            <a:xfrm>
              <a:off x="9235493" y="8795022"/>
              <a:ext cx="619125" cy="481965"/>
            </a:xfrm>
            <a:custGeom>
              <a:avLst/>
              <a:gdLst/>
              <a:ahLst/>
              <a:cxnLst/>
              <a:rect l="l" t="t" r="r" b="b"/>
              <a:pathLst>
                <a:path w="619125" h="481965">
                  <a:moveTo>
                    <a:pt x="41286" y="0"/>
                  </a:moveTo>
                  <a:lnTo>
                    <a:pt x="0" y="35841"/>
                  </a:lnTo>
                  <a:lnTo>
                    <a:pt x="9657" y="144559"/>
                  </a:lnTo>
                  <a:lnTo>
                    <a:pt x="23312" y="214270"/>
                  </a:lnTo>
                  <a:lnTo>
                    <a:pt x="50353" y="275100"/>
                  </a:lnTo>
                  <a:lnTo>
                    <a:pt x="100174" y="357172"/>
                  </a:lnTo>
                  <a:lnTo>
                    <a:pt x="125581" y="416715"/>
                  </a:lnTo>
                  <a:lnTo>
                    <a:pt x="161203" y="449498"/>
                  </a:lnTo>
                  <a:lnTo>
                    <a:pt x="231479" y="467161"/>
                  </a:lnTo>
                  <a:lnTo>
                    <a:pt x="360847" y="481346"/>
                  </a:lnTo>
                  <a:lnTo>
                    <a:pt x="396405" y="480641"/>
                  </a:lnTo>
                  <a:lnTo>
                    <a:pt x="414859" y="475705"/>
                  </a:lnTo>
                  <a:lnTo>
                    <a:pt x="422149" y="462307"/>
                  </a:lnTo>
                  <a:lnTo>
                    <a:pt x="424217" y="436217"/>
                  </a:lnTo>
                  <a:lnTo>
                    <a:pt x="425717" y="315230"/>
                  </a:lnTo>
                  <a:lnTo>
                    <a:pt x="445952" y="235423"/>
                  </a:lnTo>
                  <a:lnTo>
                    <a:pt x="502685" y="161264"/>
                  </a:lnTo>
                  <a:lnTo>
                    <a:pt x="618735" y="52626"/>
                  </a:lnTo>
                  <a:lnTo>
                    <a:pt x="615478" y="44040"/>
                  </a:lnTo>
                  <a:lnTo>
                    <a:pt x="464006" y="22198"/>
                  </a:lnTo>
                  <a:lnTo>
                    <a:pt x="457012" y="21046"/>
                  </a:lnTo>
                  <a:lnTo>
                    <a:pt x="449933" y="20491"/>
                  </a:lnTo>
                  <a:lnTo>
                    <a:pt x="125493" y="20491"/>
                  </a:lnTo>
                  <a:lnTo>
                    <a:pt x="111071" y="19846"/>
                  </a:lnTo>
                  <a:lnTo>
                    <a:pt x="96791" y="17923"/>
                  </a:lnTo>
                  <a:lnTo>
                    <a:pt x="82737" y="14740"/>
                  </a:lnTo>
                  <a:lnTo>
                    <a:pt x="68992" y="10313"/>
                  </a:lnTo>
                  <a:lnTo>
                    <a:pt x="41286" y="0"/>
                  </a:lnTo>
                  <a:close/>
                </a:path>
              </a:pathLst>
            </a:custGeom>
            <a:solidFill>
              <a:srgbClr val="364249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object 311">
              <a:extLst>
                <a:ext uri="{FF2B5EF4-FFF2-40B4-BE49-F238E27FC236}">
                  <a16:creationId xmlns:a16="http://schemas.microsoft.com/office/drawing/2014/main" id="{A726823D-AC05-4DCC-AB1E-00D4DDD85A08}"/>
                </a:ext>
              </a:extLst>
            </p:cNvPr>
            <p:cNvSpPr/>
            <p:nvPr/>
          </p:nvSpPr>
          <p:spPr>
            <a:xfrm>
              <a:off x="9235483" y="8795017"/>
              <a:ext cx="619125" cy="107950"/>
            </a:xfrm>
            <a:custGeom>
              <a:avLst/>
              <a:gdLst/>
              <a:ahLst/>
              <a:cxnLst/>
              <a:rect l="l" t="t" r="r" b="b"/>
              <a:pathLst>
                <a:path w="619125" h="107950">
                  <a:moveTo>
                    <a:pt x="41286" y="0"/>
                  </a:moveTo>
                  <a:lnTo>
                    <a:pt x="0" y="35852"/>
                  </a:lnTo>
                  <a:lnTo>
                    <a:pt x="17535" y="46437"/>
                  </a:lnTo>
                  <a:lnTo>
                    <a:pt x="93766" y="70052"/>
                  </a:lnTo>
                  <a:lnTo>
                    <a:pt x="264134" y="94488"/>
                  </a:lnTo>
                  <a:lnTo>
                    <a:pt x="564077" y="107535"/>
                  </a:lnTo>
                  <a:lnTo>
                    <a:pt x="575545" y="94875"/>
                  </a:lnTo>
                  <a:lnTo>
                    <a:pt x="587626" y="82257"/>
                  </a:lnTo>
                  <a:lnTo>
                    <a:pt x="600335" y="69700"/>
                  </a:lnTo>
                  <a:lnTo>
                    <a:pt x="618756" y="52626"/>
                  </a:lnTo>
                  <a:lnTo>
                    <a:pt x="615489" y="44040"/>
                  </a:lnTo>
                  <a:lnTo>
                    <a:pt x="464017" y="22208"/>
                  </a:lnTo>
                  <a:lnTo>
                    <a:pt x="457022" y="21056"/>
                  </a:lnTo>
                  <a:lnTo>
                    <a:pt x="449944" y="20491"/>
                  </a:lnTo>
                  <a:lnTo>
                    <a:pt x="125504" y="20491"/>
                  </a:lnTo>
                  <a:lnTo>
                    <a:pt x="111081" y="19848"/>
                  </a:lnTo>
                  <a:lnTo>
                    <a:pt x="96802" y="17927"/>
                  </a:lnTo>
                  <a:lnTo>
                    <a:pt x="82747" y="14744"/>
                  </a:lnTo>
                  <a:lnTo>
                    <a:pt x="69003" y="10313"/>
                  </a:lnTo>
                  <a:lnTo>
                    <a:pt x="41286" y="0"/>
                  </a:lnTo>
                  <a:close/>
                </a:path>
              </a:pathLst>
            </a:custGeom>
            <a:solidFill>
              <a:srgbClr val="45525A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6" name="object 312">
              <a:extLst>
                <a:ext uri="{FF2B5EF4-FFF2-40B4-BE49-F238E27FC236}">
                  <a16:creationId xmlns:a16="http://schemas.microsoft.com/office/drawing/2014/main" id="{1D014091-7392-4F38-A7A0-2E434AB25505}"/>
                </a:ext>
              </a:extLst>
            </p:cNvPr>
            <p:cNvSpPr/>
            <p:nvPr/>
          </p:nvSpPr>
          <p:spPr>
            <a:xfrm>
              <a:off x="15374582" y="8248783"/>
              <a:ext cx="167005" cy="148590"/>
            </a:xfrm>
            <a:custGeom>
              <a:avLst/>
              <a:gdLst/>
              <a:ahLst/>
              <a:cxnLst/>
              <a:rect l="l" t="t" r="r" b="b"/>
              <a:pathLst>
                <a:path w="167005" h="148590">
                  <a:moveTo>
                    <a:pt x="166509" y="111760"/>
                  </a:moveTo>
                  <a:lnTo>
                    <a:pt x="166166" y="111760"/>
                  </a:lnTo>
                  <a:lnTo>
                    <a:pt x="166166" y="74930"/>
                  </a:lnTo>
                  <a:lnTo>
                    <a:pt x="165481" y="74930"/>
                  </a:lnTo>
                  <a:lnTo>
                    <a:pt x="165481" y="36830"/>
                  </a:lnTo>
                  <a:lnTo>
                    <a:pt x="164414" y="36830"/>
                  </a:lnTo>
                  <a:lnTo>
                    <a:pt x="164414" y="0"/>
                  </a:lnTo>
                  <a:lnTo>
                    <a:pt x="0" y="0"/>
                  </a:lnTo>
                  <a:lnTo>
                    <a:pt x="0" y="36830"/>
                  </a:lnTo>
                  <a:lnTo>
                    <a:pt x="0" y="74930"/>
                  </a:lnTo>
                  <a:lnTo>
                    <a:pt x="0" y="111760"/>
                  </a:lnTo>
                  <a:lnTo>
                    <a:pt x="0" y="148590"/>
                  </a:lnTo>
                  <a:lnTo>
                    <a:pt x="166509" y="148590"/>
                  </a:lnTo>
                  <a:lnTo>
                    <a:pt x="166509" y="111760"/>
                  </a:lnTo>
                  <a:close/>
                </a:path>
              </a:pathLst>
            </a:custGeom>
            <a:solidFill>
              <a:srgbClr val="EBE7C6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7" name="object 313">
              <a:extLst>
                <a:ext uri="{FF2B5EF4-FFF2-40B4-BE49-F238E27FC236}">
                  <a16:creationId xmlns:a16="http://schemas.microsoft.com/office/drawing/2014/main" id="{ECFBDEE4-8AF2-483C-AF35-1D2D3941B4A5}"/>
                </a:ext>
              </a:extLst>
            </p:cNvPr>
            <p:cNvSpPr/>
            <p:nvPr/>
          </p:nvSpPr>
          <p:spPr>
            <a:xfrm>
              <a:off x="15374587" y="8600125"/>
              <a:ext cx="163195" cy="167005"/>
            </a:xfrm>
            <a:custGeom>
              <a:avLst/>
              <a:gdLst/>
              <a:ahLst/>
              <a:cxnLst/>
              <a:rect l="l" t="t" r="r" b="b"/>
              <a:pathLst>
                <a:path w="163194" h="167004">
                  <a:moveTo>
                    <a:pt x="163084" y="0"/>
                  </a:moveTo>
                  <a:lnTo>
                    <a:pt x="0" y="0"/>
                  </a:lnTo>
                  <a:lnTo>
                    <a:pt x="0" y="166738"/>
                  </a:lnTo>
                  <a:lnTo>
                    <a:pt x="155545" y="159691"/>
                  </a:lnTo>
                  <a:lnTo>
                    <a:pt x="158097" y="115365"/>
                  </a:lnTo>
                  <a:lnTo>
                    <a:pt x="160536" y="64911"/>
                  </a:lnTo>
                  <a:lnTo>
                    <a:pt x="163084" y="0"/>
                  </a:lnTo>
                  <a:close/>
                </a:path>
              </a:pathLst>
            </a:custGeom>
            <a:solidFill>
              <a:srgbClr val="F6921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8" name="object 314">
              <a:extLst>
                <a:ext uri="{FF2B5EF4-FFF2-40B4-BE49-F238E27FC236}">
                  <a16:creationId xmlns:a16="http://schemas.microsoft.com/office/drawing/2014/main" id="{5BFBA47B-0E44-4F0E-9E16-264E7E84B0F2}"/>
                </a:ext>
              </a:extLst>
            </p:cNvPr>
            <p:cNvSpPr/>
            <p:nvPr/>
          </p:nvSpPr>
          <p:spPr>
            <a:xfrm>
              <a:off x="9266670" y="8395838"/>
              <a:ext cx="331470" cy="259079"/>
            </a:xfrm>
            <a:custGeom>
              <a:avLst/>
              <a:gdLst/>
              <a:ahLst/>
              <a:cxnLst/>
              <a:rect l="l" t="t" r="r" b="b"/>
              <a:pathLst>
                <a:path w="331470" h="259079">
                  <a:moveTo>
                    <a:pt x="279308" y="0"/>
                  </a:moveTo>
                  <a:lnTo>
                    <a:pt x="156892" y="0"/>
                  </a:lnTo>
                  <a:lnTo>
                    <a:pt x="90233" y="7211"/>
                  </a:lnTo>
                  <a:lnTo>
                    <a:pt x="57524" y="62252"/>
                  </a:lnTo>
                  <a:lnTo>
                    <a:pt x="33262" y="115673"/>
                  </a:lnTo>
                  <a:lnTo>
                    <a:pt x="16326" y="166720"/>
                  </a:lnTo>
                  <a:lnTo>
                    <a:pt x="5597" y="214640"/>
                  </a:lnTo>
                  <a:lnTo>
                    <a:pt x="0" y="258318"/>
                  </a:lnTo>
                  <a:lnTo>
                    <a:pt x="0" y="258630"/>
                  </a:lnTo>
                  <a:lnTo>
                    <a:pt x="50480" y="204687"/>
                  </a:lnTo>
                  <a:lnTo>
                    <a:pt x="100456" y="159285"/>
                  </a:lnTo>
                  <a:lnTo>
                    <a:pt x="148852" y="121768"/>
                  </a:lnTo>
                  <a:lnTo>
                    <a:pt x="194640" y="91432"/>
                  </a:lnTo>
                  <a:lnTo>
                    <a:pt x="236792" y="67572"/>
                  </a:lnTo>
                  <a:lnTo>
                    <a:pt x="274281" y="49485"/>
                  </a:lnTo>
                  <a:lnTo>
                    <a:pt x="331130" y="27816"/>
                  </a:lnTo>
                  <a:lnTo>
                    <a:pt x="292827" y="4115"/>
                  </a:lnTo>
                  <a:lnTo>
                    <a:pt x="279308" y="0"/>
                  </a:lnTo>
                  <a:close/>
                </a:path>
              </a:pathLst>
            </a:custGeom>
            <a:solidFill>
              <a:srgbClr val="FFFFFF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9" name="object 315">
              <a:extLst>
                <a:ext uri="{FF2B5EF4-FFF2-40B4-BE49-F238E27FC236}">
                  <a16:creationId xmlns:a16="http://schemas.microsoft.com/office/drawing/2014/main" id="{9DBB5D9E-27D2-41D9-8AAF-A082F3CB5579}"/>
                </a:ext>
              </a:extLst>
            </p:cNvPr>
            <p:cNvSpPr/>
            <p:nvPr/>
          </p:nvSpPr>
          <p:spPr>
            <a:xfrm>
              <a:off x="10445230" y="7292171"/>
              <a:ext cx="1122045" cy="873125"/>
            </a:xfrm>
            <a:custGeom>
              <a:avLst/>
              <a:gdLst/>
              <a:ahLst/>
              <a:cxnLst/>
              <a:rect l="l" t="t" r="r" b="b"/>
              <a:pathLst>
                <a:path w="1122045" h="873125">
                  <a:moveTo>
                    <a:pt x="1055549" y="0"/>
                  </a:moveTo>
                  <a:lnTo>
                    <a:pt x="1054418" y="0"/>
                  </a:lnTo>
                  <a:lnTo>
                    <a:pt x="1052135" y="62"/>
                  </a:lnTo>
                  <a:lnTo>
                    <a:pt x="1012314" y="1991"/>
                  </a:lnTo>
                  <a:lnTo>
                    <a:pt x="967786" y="4641"/>
                  </a:lnTo>
                  <a:lnTo>
                    <a:pt x="919525" y="8124"/>
                  </a:lnTo>
                  <a:lnTo>
                    <a:pt x="868509" y="12551"/>
                  </a:lnTo>
                  <a:lnTo>
                    <a:pt x="815714" y="18032"/>
                  </a:lnTo>
                  <a:lnTo>
                    <a:pt x="762116" y="24679"/>
                  </a:lnTo>
                  <a:lnTo>
                    <a:pt x="708692" y="32603"/>
                  </a:lnTo>
                  <a:lnTo>
                    <a:pt x="656417" y="41914"/>
                  </a:lnTo>
                  <a:lnTo>
                    <a:pt x="606269" y="52724"/>
                  </a:lnTo>
                  <a:lnTo>
                    <a:pt x="559223" y="65144"/>
                  </a:lnTo>
                  <a:lnTo>
                    <a:pt x="516256" y="79285"/>
                  </a:lnTo>
                  <a:lnTo>
                    <a:pt x="457366" y="120576"/>
                  </a:lnTo>
                  <a:lnTo>
                    <a:pt x="399597" y="168945"/>
                  </a:lnTo>
                  <a:lnTo>
                    <a:pt x="337026" y="232914"/>
                  </a:lnTo>
                  <a:lnTo>
                    <a:pt x="16020" y="592735"/>
                  </a:lnTo>
                  <a:lnTo>
                    <a:pt x="0" y="634598"/>
                  </a:lnTo>
                  <a:lnTo>
                    <a:pt x="0" y="841670"/>
                  </a:lnTo>
                  <a:lnTo>
                    <a:pt x="2504" y="853986"/>
                  </a:lnTo>
                  <a:lnTo>
                    <a:pt x="9281" y="863920"/>
                  </a:lnTo>
                  <a:lnTo>
                    <a:pt x="19220" y="870553"/>
                  </a:lnTo>
                  <a:lnTo>
                    <a:pt x="31213" y="872968"/>
                  </a:lnTo>
                  <a:lnTo>
                    <a:pt x="33140" y="872968"/>
                  </a:lnTo>
                  <a:lnTo>
                    <a:pt x="35098" y="872790"/>
                  </a:lnTo>
                  <a:lnTo>
                    <a:pt x="37087" y="872423"/>
                  </a:lnTo>
                  <a:lnTo>
                    <a:pt x="255910" y="836005"/>
                  </a:lnTo>
                  <a:lnTo>
                    <a:pt x="36072" y="836005"/>
                  </a:lnTo>
                  <a:lnTo>
                    <a:pt x="36072" y="628033"/>
                  </a:lnTo>
                  <a:lnTo>
                    <a:pt x="364323" y="256515"/>
                  </a:lnTo>
                  <a:lnTo>
                    <a:pt x="417613" y="201451"/>
                  </a:lnTo>
                  <a:lnTo>
                    <a:pt x="468305" y="157881"/>
                  </a:lnTo>
                  <a:lnTo>
                    <a:pt x="508976" y="127467"/>
                  </a:lnTo>
                  <a:lnTo>
                    <a:pt x="578435" y="97137"/>
                  </a:lnTo>
                  <a:lnTo>
                    <a:pt x="629330" y="84368"/>
                  </a:lnTo>
                  <a:lnTo>
                    <a:pt x="683634" y="73424"/>
                  </a:lnTo>
                  <a:lnTo>
                    <a:pt x="740089" y="64165"/>
                  </a:lnTo>
                  <a:lnTo>
                    <a:pt x="797440" y="56449"/>
                  </a:lnTo>
                  <a:lnTo>
                    <a:pt x="854431" y="50138"/>
                  </a:lnTo>
                  <a:lnTo>
                    <a:pt x="909808" y="45090"/>
                  </a:lnTo>
                  <a:lnTo>
                    <a:pt x="962312" y="41165"/>
                  </a:lnTo>
                  <a:lnTo>
                    <a:pt x="1010690" y="38223"/>
                  </a:lnTo>
                  <a:lnTo>
                    <a:pt x="1053685" y="36124"/>
                  </a:lnTo>
                  <a:lnTo>
                    <a:pt x="1054931" y="36082"/>
                  </a:lnTo>
                  <a:lnTo>
                    <a:pt x="1112068" y="36082"/>
                  </a:lnTo>
                  <a:lnTo>
                    <a:pt x="1107231" y="25454"/>
                  </a:lnTo>
                  <a:lnTo>
                    <a:pt x="1085558" y="6877"/>
                  </a:lnTo>
                  <a:lnTo>
                    <a:pt x="1055549" y="0"/>
                  </a:lnTo>
                  <a:close/>
                </a:path>
                <a:path w="1122045" h="873125">
                  <a:moveTo>
                    <a:pt x="1112068" y="36082"/>
                  </a:moveTo>
                  <a:lnTo>
                    <a:pt x="1064355" y="36082"/>
                  </a:lnTo>
                  <a:lnTo>
                    <a:pt x="1071119" y="38836"/>
                  </a:lnTo>
                  <a:lnTo>
                    <a:pt x="1076239" y="44480"/>
                  </a:lnTo>
                  <a:lnTo>
                    <a:pt x="1081091" y="51649"/>
                  </a:lnTo>
                  <a:lnTo>
                    <a:pt x="1084376" y="60559"/>
                  </a:lnTo>
                  <a:lnTo>
                    <a:pt x="1085982" y="70783"/>
                  </a:lnTo>
                  <a:lnTo>
                    <a:pt x="1085799" y="81892"/>
                  </a:lnTo>
                  <a:lnTo>
                    <a:pt x="1041109" y="543794"/>
                  </a:lnTo>
                  <a:lnTo>
                    <a:pt x="1030180" y="585303"/>
                  </a:lnTo>
                  <a:lnTo>
                    <a:pt x="1011537" y="619547"/>
                  </a:lnTo>
                  <a:lnTo>
                    <a:pt x="965111" y="667382"/>
                  </a:lnTo>
                  <a:lnTo>
                    <a:pt x="927930" y="686413"/>
                  </a:lnTo>
                  <a:lnTo>
                    <a:pt x="36072" y="836005"/>
                  </a:lnTo>
                  <a:lnTo>
                    <a:pt x="255910" y="836005"/>
                  </a:lnTo>
                  <a:lnTo>
                    <a:pt x="920432" y="725412"/>
                  </a:lnTo>
                  <a:lnTo>
                    <a:pt x="971723" y="706310"/>
                  </a:lnTo>
                  <a:lnTo>
                    <a:pt x="1014143" y="672351"/>
                  </a:lnTo>
                  <a:lnTo>
                    <a:pt x="1041264" y="639972"/>
                  </a:lnTo>
                  <a:lnTo>
                    <a:pt x="1063739" y="598590"/>
                  </a:lnTo>
                  <a:lnTo>
                    <a:pt x="1076982" y="547836"/>
                  </a:lnTo>
                  <a:lnTo>
                    <a:pt x="1121714" y="85369"/>
                  </a:lnTo>
                  <a:lnTo>
                    <a:pt x="1119605" y="52646"/>
                  </a:lnTo>
                  <a:lnTo>
                    <a:pt x="1112068" y="36082"/>
                  </a:lnTo>
                  <a:close/>
                </a:path>
              </a:pathLst>
            </a:custGeom>
            <a:solidFill>
              <a:srgbClr val="909495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0" name="object 316">
              <a:extLst>
                <a:ext uri="{FF2B5EF4-FFF2-40B4-BE49-F238E27FC236}">
                  <a16:creationId xmlns:a16="http://schemas.microsoft.com/office/drawing/2014/main" id="{5721F338-5060-4051-BD0A-CAD4A30421B4}"/>
                </a:ext>
              </a:extLst>
            </p:cNvPr>
            <p:cNvSpPr/>
            <p:nvPr/>
          </p:nvSpPr>
          <p:spPr>
            <a:xfrm>
              <a:off x="10426984" y="7742235"/>
              <a:ext cx="74295" cy="348615"/>
            </a:xfrm>
            <a:custGeom>
              <a:avLst/>
              <a:gdLst/>
              <a:ahLst/>
              <a:cxnLst/>
              <a:rect l="l" t="t" r="r" b="b"/>
              <a:pathLst>
                <a:path w="74295" h="348615">
                  <a:moveTo>
                    <a:pt x="67170" y="0"/>
                  </a:moveTo>
                  <a:lnTo>
                    <a:pt x="5842" y="0"/>
                  </a:lnTo>
                  <a:lnTo>
                    <a:pt x="0" y="7779"/>
                  </a:lnTo>
                  <a:lnTo>
                    <a:pt x="1246" y="340366"/>
                  </a:lnTo>
                  <a:lnTo>
                    <a:pt x="7099" y="348146"/>
                  </a:lnTo>
                  <a:lnTo>
                    <a:pt x="14313" y="348146"/>
                  </a:lnTo>
                  <a:lnTo>
                    <a:pt x="68416" y="348146"/>
                  </a:lnTo>
                  <a:lnTo>
                    <a:pt x="74269" y="340366"/>
                  </a:lnTo>
                  <a:lnTo>
                    <a:pt x="73013" y="7779"/>
                  </a:lnTo>
                  <a:lnTo>
                    <a:pt x="67170" y="0"/>
                  </a:lnTo>
                  <a:close/>
                </a:path>
              </a:pathLst>
            </a:custGeom>
            <a:solidFill>
              <a:srgbClr val="172027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81" name="object 317">
              <a:extLst>
                <a:ext uri="{FF2B5EF4-FFF2-40B4-BE49-F238E27FC236}">
                  <a16:creationId xmlns:a16="http://schemas.microsoft.com/office/drawing/2014/main" id="{2D5BDB5F-1492-4B87-B4C8-B23934876EAB}"/>
                </a:ext>
              </a:extLst>
            </p:cNvPr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14959745" y="8546043"/>
              <a:ext cx="252164" cy="155639"/>
            </a:xfrm>
            <a:prstGeom prst="rect">
              <a:avLst/>
            </a:prstGeom>
          </p:spPr>
        </p:pic>
        <p:sp>
          <p:nvSpPr>
            <p:cNvPr id="282" name="object 318">
              <a:extLst>
                <a:ext uri="{FF2B5EF4-FFF2-40B4-BE49-F238E27FC236}">
                  <a16:creationId xmlns:a16="http://schemas.microsoft.com/office/drawing/2014/main" id="{2F1B4E2B-1923-43AD-B153-3A2151A5FAED}"/>
                </a:ext>
              </a:extLst>
            </p:cNvPr>
            <p:cNvSpPr/>
            <p:nvPr/>
          </p:nvSpPr>
          <p:spPr>
            <a:xfrm>
              <a:off x="15518308" y="9567585"/>
              <a:ext cx="1093470" cy="163830"/>
            </a:xfrm>
            <a:custGeom>
              <a:avLst/>
              <a:gdLst/>
              <a:ahLst/>
              <a:cxnLst/>
              <a:rect l="l" t="t" r="r" b="b"/>
              <a:pathLst>
                <a:path w="1093469" h="163829">
                  <a:moveTo>
                    <a:pt x="0" y="0"/>
                  </a:moveTo>
                  <a:lnTo>
                    <a:pt x="39799" y="163544"/>
                  </a:lnTo>
                  <a:lnTo>
                    <a:pt x="1093265" y="163544"/>
                  </a:lnTo>
                  <a:lnTo>
                    <a:pt x="807242" y="52993"/>
                  </a:lnTo>
                  <a:lnTo>
                    <a:pt x="691350" y="33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1B23">
                <a:alpha val="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object 319">
              <a:extLst>
                <a:ext uri="{FF2B5EF4-FFF2-40B4-BE49-F238E27FC236}">
                  <a16:creationId xmlns:a16="http://schemas.microsoft.com/office/drawing/2014/main" id="{89A94734-4CD2-41CE-ACC6-5A4623F10845}"/>
                </a:ext>
              </a:extLst>
            </p:cNvPr>
            <p:cNvSpPr/>
            <p:nvPr/>
          </p:nvSpPr>
          <p:spPr>
            <a:xfrm>
              <a:off x="15518308" y="7212705"/>
              <a:ext cx="692150" cy="2350770"/>
            </a:xfrm>
            <a:custGeom>
              <a:avLst/>
              <a:gdLst/>
              <a:ahLst/>
              <a:cxnLst/>
              <a:rect l="l" t="t" r="r" b="b"/>
              <a:pathLst>
                <a:path w="692150" h="2350770">
                  <a:moveTo>
                    <a:pt x="430803" y="0"/>
                  </a:moveTo>
                  <a:lnTo>
                    <a:pt x="0" y="113368"/>
                  </a:lnTo>
                  <a:lnTo>
                    <a:pt x="0" y="2350713"/>
                  </a:lnTo>
                  <a:lnTo>
                    <a:pt x="691581" y="2350713"/>
                  </a:lnTo>
                  <a:lnTo>
                    <a:pt x="691581" y="56668"/>
                  </a:lnTo>
                  <a:lnTo>
                    <a:pt x="430803" y="0"/>
                  </a:lnTo>
                  <a:close/>
                </a:path>
              </a:pathLst>
            </a:custGeom>
            <a:solidFill>
              <a:srgbClr val="FF152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object 320">
              <a:extLst>
                <a:ext uri="{FF2B5EF4-FFF2-40B4-BE49-F238E27FC236}">
                  <a16:creationId xmlns:a16="http://schemas.microsoft.com/office/drawing/2014/main" id="{6C97F2D5-5CEA-4FF4-BD86-8211FC58C0EC}"/>
                </a:ext>
              </a:extLst>
            </p:cNvPr>
            <p:cNvSpPr/>
            <p:nvPr/>
          </p:nvSpPr>
          <p:spPr>
            <a:xfrm>
              <a:off x="15518308" y="7212704"/>
              <a:ext cx="448309" cy="2350770"/>
            </a:xfrm>
            <a:custGeom>
              <a:avLst/>
              <a:gdLst/>
              <a:ahLst/>
              <a:cxnLst/>
              <a:rect l="l" t="t" r="r" b="b"/>
              <a:pathLst>
                <a:path w="448309" h="2350770">
                  <a:moveTo>
                    <a:pt x="33997" y="104406"/>
                  </a:moveTo>
                  <a:lnTo>
                    <a:pt x="0" y="113372"/>
                  </a:lnTo>
                  <a:lnTo>
                    <a:pt x="0" y="2350719"/>
                  </a:lnTo>
                  <a:lnTo>
                    <a:pt x="33997" y="2350719"/>
                  </a:lnTo>
                  <a:lnTo>
                    <a:pt x="33997" y="104406"/>
                  </a:lnTo>
                  <a:close/>
                </a:path>
                <a:path w="448309" h="2350770">
                  <a:moveTo>
                    <a:pt x="447814" y="3695"/>
                  </a:moveTo>
                  <a:lnTo>
                    <a:pt x="430809" y="0"/>
                  </a:lnTo>
                  <a:lnTo>
                    <a:pt x="413804" y="4470"/>
                  </a:lnTo>
                  <a:lnTo>
                    <a:pt x="413804" y="2350719"/>
                  </a:lnTo>
                  <a:lnTo>
                    <a:pt x="447814" y="2350719"/>
                  </a:lnTo>
                  <a:lnTo>
                    <a:pt x="447814" y="3695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object 321">
              <a:extLst>
                <a:ext uri="{FF2B5EF4-FFF2-40B4-BE49-F238E27FC236}">
                  <a16:creationId xmlns:a16="http://schemas.microsoft.com/office/drawing/2014/main" id="{42123E12-E66E-42AF-B602-B8EB0F014952}"/>
                </a:ext>
              </a:extLst>
            </p:cNvPr>
            <p:cNvSpPr/>
            <p:nvPr/>
          </p:nvSpPr>
          <p:spPr>
            <a:xfrm>
              <a:off x="15518310" y="9567581"/>
              <a:ext cx="712470" cy="106680"/>
            </a:xfrm>
            <a:custGeom>
              <a:avLst/>
              <a:gdLst/>
              <a:ahLst/>
              <a:cxnLst/>
              <a:rect l="l" t="t" r="r" b="b"/>
              <a:pathLst>
                <a:path w="712469" h="106679">
                  <a:moveTo>
                    <a:pt x="0" y="0"/>
                  </a:moveTo>
                  <a:lnTo>
                    <a:pt x="109399" y="106195"/>
                  </a:lnTo>
                  <a:lnTo>
                    <a:pt x="712198" y="106195"/>
                  </a:lnTo>
                  <a:lnTo>
                    <a:pt x="668744" y="38250"/>
                  </a:lnTo>
                  <a:lnTo>
                    <a:pt x="691350" y="2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B1B23">
                <a:alpha val="29998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object 322">
              <a:extLst>
                <a:ext uri="{FF2B5EF4-FFF2-40B4-BE49-F238E27FC236}">
                  <a16:creationId xmlns:a16="http://schemas.microsoft.com/office/drawing/2014/main" id="{265B67F5-836D-43D1-B46D-9F0EACD40D67}"/>
                </a:ext>
              </a:extLst>
            </p:cNvPr>
            <p:cNvSpPr/>
            <p:nvPr/>
          </p:nvSpPr>
          <p:spPr>
            <a:xfrm>
              <a:off x="15518308" y="9567591"/>
              <a:ext cx="691515" cy="38735"/>
            </a:xfrm>
            <a:custGeom>
              <a:avLst/>
              <a:gdLst/>
              <a:ahLst/>
              <a:cxnLst/>
              <a:rect l="l" t="t" r="r" b="b"/>
              <a:pathLst>
                <a:path w="691515" h="38734">
                  <a:moveTo>
                    <a:pt x="691350" y="73"/>
                  </a:moveTo>
                  <a:lnTo>
                    <a:pt x="0" y="0"/>
                  </a:lnTo>
                  <a:lnTo>
                    <a:pt x="39799" y="38239"/>
                  </a:lnTo>
                  <a:lnTo>
                    <a:pt x="668733" y="38239"/>
                  </a:lnTo>
                  <a:lnTo>
                    <a:pt x="691350" y="73"/>
                  </a:lnTo>
                  <a:close/>
                </a:path>
              </a:pathLst>
            </a:custGeom>
            <a:solidFill>
              <a:srgbClr val="03283D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object 323">
              <a:extLst>
                <a:ext uri="{FF2B5EF4-FFF2-40B4-BE49-F238E27FC236}">
                  <a16:creationId xmlns:a16="http://schemas.microsoft.com/office/drawing/2014/main" id="{D010EAB2-009C-4C85-8B83-5DE24747A3E6}"/>
                </a:ext>
              </a:extLst>
            </p:cNvPr>
            <p:cNvSpPr/>
            <p:nvPr/>
          </p:nvSpPr>
          <p:spPr>
            <a:xfrm>
              <a:off x="15637544" y="8745267"/>
              <a:ext cx="154940" cy="24765"/>
            </a:xfrm>
            <a:custGeom>
              <a:avLst/>
              <a:gdLst/>
              <a:ahLst/>
              <a:cxnLst/>
              <a:rect l="l" t="t" r="r" b="b"/>
              <a:pathLst>
                <a:path w="154940" h="24765">
                  <a:moveTo>
                    <a:pt x="154927" y="0"/>
                  </a:moveTo>
                  <a:lnTo>
                    <a:pt x="0" y="6952"/>
                  </a:lnTo>
                  <a:lnTo>
                    <a:pt x="0" y="24302"/>
                  </a:lnTo>
                  <a:lnTo>
                    <a:pt x="154927" y="17643"/>
                  </a:lnTo>
                  <a:lnTo>
                    <a:pt x="154927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8" name="object 324">
              <a:extLst>
                <a:ext uri="{FF2B5EF4-FFF2-40B4-BE49-F238E27FC236}">
                  <a16:creationId xmlns:a16="http://schemas.microsoft.com/office/drawing/2014/main" id="{9D8495E8-4F4D-42E4-8936-C36550946B58}"/>
                </a:ext>
              </a:extLst>
            </p:cNvPr>
            <p:cNvSpPr/>
            <p:nvPr/>
          </p:nvSpPr>
          <p:spPr>
            <a:xfrm>
              <a:off x="15637544" y="8458349"/>
              <a:ext cx="154940" cy="294005"/>
            </a:xfrm>
            <a:custGeom>
              <a:avLst/>
              <a:gdLst/>
              <a:ahLst/>
              <a:cxnLst/>
              <a:rect l="l" t="t" r="r" b="b"/>
              <a:pathLst>
                <a:path w="154940" h="294004">
                  <a:moveTo>
                    <a:pt x="154927" y="0"/>
                  </a:moveTo>
                  <a:lnTo>
                    <a:pt x="0" y="11894"/>
                  </a:lnTo>
                  <a:lnTo>
                    <a:pt x="0" y="293875"/>
                  </a:lnTo>
                  <a:lnTo>
                    <a:pt x="154927" y="286923"/>
                  </a:lnTo>
                  <a:lnTo>
                    <a:pt x="154927" y="0"/>
                  </a:lnTo>
                  <a:close/>
                </a:path>
              </a:pathLst>
            </a:custGeom>
            <a:solidFill>
              <a:srgbClr val="374B5D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object 325">
              <a:extLst>
                <a:ext uri="{FF2B5EF4-FFF2-40B4-BE49-F238E27FC236}">
                  <a16:creationId xmlns:a16="http://schemas.microsoft.com/office/drawing/2014/main" id="{6E67BCD7-C7A9-4615-84CE-FE34D8805EA8}"/>
                </a:ext>
              </a:extLst>
            </p:cNvPr>
            <p:cNvSpPr/>
            <p:nvPr/>
          </p:nvSpPr>
          <p:spPr>
            <a:xfrm>
              <a:off x="15637544" y="8470245"/>
              <a:ext cx="76835" cy="282575"/>
            </a:xfrm>
            <a:custGeom>
              <a:avLst/>
              <a:gdLst/>
              <a:ahLst/>
              <a:cxnLst/>
              <a:rect l="l" t="t" r="r" b="b"/>
              <a:pathLst>
                <a:path w="76834" h="282575">
                  <a:moveTo>
                    <a:pt x="0" y="0"/>
                  </a:moveTo>
                  <a:lnTo>
                    <a:pt x="0" y="281980"/>
                  </a:lnTo>
                  <a:lnTo>
                    <a:pt x="76793" y="1363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F313E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object 326">
              <a:extLst>
                <a:ext uri="{FF2B5EF4-FFF2-40B4-BE49-F238E27FC236}">
                  <a16:creationId xmlns:a16="http://schemas.microsoft.com/office/drawing/2014/main" id="{BA128153-13C9-4A91-BDBC-9D1B8E30060F}"/>
                </a:ext>
              </a:extLst>
            </p:cNvPr>
            <p:cNvSpPr/>
            <p:nvPr/>
          </p:nvSpPr>
          <p:spPr>
            <a:xfrm>
              <a:off x="15637540" y="8458361"/>
              <a:ext cx="154940" cy="148590"/>
            </a:xfrm>
            <a:custGeom>
              <a:avLst/>
              <a:gdLst/>
              <a:ahLst/>
              <a:cxnLst/>
              <a:rect l="l" t="t" r="r" b="b"/>
              <a:pathLst>
                <a:path w="154940" h="148590">
                  <a:moveTo>
                    <a:pt x="154927" y="0"/>
                  </a:moveTo>
                  <a:lnTo>
                    <a:pt x="0" y="11894"/>
                  </a:lnTo>
                  <a:lnTo>
                    <a:pt x="76803" y="148204"/>
                  </a:lnTo>
                  <a:lnTo>
                    <a:pt x="154927" y="143461"/>
                  </a:lnTo>
                  <a:lnTo>
                    <a:pt x="154927" y="0"/>
                  </a:lnTo>
                  <a:close/>
                </a:path>
              </a:pathLst>
            </a:custGeom>
            <a:solidFill>
              <a:srgbClr val="0D1A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object 327">
              <a:extLst>
                <a:ext uri="{FF2B5EF4-FFF2-40B4-BE49-F238E27FC236}">
                  <a16:creationId xmlns:a16="http://schemas.microsoft.com/office/drawing/2014/main" id="{466CEB20-FD97-44C9-8643-6CD79856B2B7}"/>
                </a:ext>
              </a:extLst>
            </p:cNvPr>
            <p:cNvSpPr/>
            <p:nvPr/>
          </p:nvSpPr>
          <p:spPr>
            <a:xfrm>
              <a:off x="15571215" y="7913356"/>
              <a:ext cx="291465" cy="527685"/>
            </a:xfrm>
            <a:custGeom>
              <a:avLst/>
              <a:gdLst/>
              <a:ahLst/>
              <a:cxnLst/>
              <a:rect l="l" t="t" r="r" b="b"/>
              <a:pathLst>
                <a:path w="291465" h="527684">
                  <a:moveTo>
                    <a:pt x="290985" y="0"/>
                  </a:moveTo>
                  <a:lnTo>
                    <a:pt x="0" y="39590"/>
                  </a:lnTo>
                  <a:lnTo>
                    <a:pt x="0" y="527355"/>
                  </a:lnTo>
                  <a:lnTo>
                    <a:pt x="290985" y="503869"/>
                  </a:lnTo>
                  <a:lnTo>
                    <a:pt x="290985" y="0"/>
                  </a:lnTo>
                  <a:close/>
                </a:path>
              </a:pathLst>
            </a:custGeom>
            <a:solidFill>
              <a:srgbClr val="506679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object 328">
              <a:extLst>
                <a:ext uri="{FF2B5EF4-FFF2-40B4-BE49-F238E27FC236}">
                  <a16:creationId xmlns:a16="http://schemas.microsoft.com/office/drawing/2014/main" id="{A2731C18-84C2-4723-8081-B135724BA718}"/>
                </a:ext>
              </a:extLst>
            </p:cNvPr>
            <p:cNvSpPr/>
            <p:nvPr/>
          </p:nvSpPr>
          <p:spPr>
            <a:xfrm>
              <a:off x="15571215" y="8417223"/>
              <a:ext cx="291465" cy="41275"/>
            </a:xfrm>
            <a:custGeom>
              <a:avLst/>
              <a:gdLst/>
              <a:ahLst/>
              <a:cxnLst/>
              <a:rect l="l" t="t" r="r" b="b"/>
              <a:pathLst>
                <a:path w="291465" h="41275">
                  <a:moveTo>
                    <a:pt x="290985" y="0"/>
                  </a:moveTo>
                  <a:lnTo>
                    <a:pt x="0" y="23486"/>
                  </a:lnTo>
                  <a:lnTo>
                    <a:pt x="0" y="40710"/>
                  </a:lnTo>
                  <a:lnTo>
                    <a:pt x="290985" y="17821"/>
                  </a:lnTo>
                  <a:lnTo>
                    <a:pt x="290985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object 329">
              <a:extLst>
                <a:ext uri="{FF2B5EF4-FFF2-40B4-BE49-F238E27FC236}">
                  <a16:creationId xmlns:a16="http://schemas.microsoft.com/office/drawing/2014/main" id="{FE28C280-39FA-4F06-8A68-2F566906420A}"/>
                </a:ext>
              </a:extLst>
            </p:cNvPr>
            <p:cNvSpPr/>
            <p:nvPr/>
          </p:nvSpPr>
          <p:spPr>
            <a:xfrm>
              <a:off x="15571213" y="7913353"/>
              <a:ext cx="291465" cy="143510"/>
            </a:xfrm>
            <a:custGeom>
              <a:avLst/>
              <a:gdLst/>
              <a:ahLst/>
              <a:cxnLst/>
              <a:rect l="l" t="t" r="r" b="b"/>
              <a:pathLst>
                <a:path w="291465" h="143509">
                  <a:moveTo>
                    <a:pt x="290985" y="0"/>
                  </a:moveTo>
                  <a:lnTo>
                    <a:pt x="0" y="39590"/>
                  </a:lnTo>
                  <a:lnTo>
                    <a:pt x="113001" y="143137"/>
                  </a:lnTo>
                  <a:lnTo>
                    <a:pt x="290985" y="121305"/>
                  </a:lnTo>
                  <a:lnTo>
                    <a:pt x="290985" y="0"/>
                  </a:lnTo>
                  <a:close/>
                </a:path>
              </a:pathLst>
            </a:custGeom>
            <a:solidFill>
              <a:srgbClr val="0D1A20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object 330">
              <a:extLst>
                <a:ext uri="{FF2B5EF4-FFF2-40B4-BE49-F238E27FC236}">
                  <a16:creationId xmlns:a16="http://schemas.microsoft.com/office/drawing/2014/main" id="{66048133-8996-4DDB-AC26-5D27F4575A05}"/>
                </a:ext>
              </a:extLst>
            </p:cNvPr>
            <p:cNvSpPr/>
            <p:nvPr/>
          </p:nvSpPr>
          <p:spPr>
            <a:xfrm>
              <a:off x="15571215" y="7952946"/>
              <a:ext cx="113030" cy="488315"/>
            </a:xfrm>
            <a:custGeom>
              <a:avLst/>
              <a:gdLst/>
              <a:ahLst/>
              <a:cxnLst/>
              <a:rect l="l" t="t" r="r" b="b"/>
              <a:pathLst>
                <a:path w="113030" h="488315">
                  <a:moveTo>
                    <a:pt x="0" y="0"/>
                  </a:moveTo>
                  <a:lnTo>
                    <a:pt x="0" y="487765"/>
                  </a:lnTo>
                  <a:lnTo>
                    <a:pt x="113001" y="1035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374B5D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95" name="object 331">
              <a:extLst>
                <a:ext uri="{FF2B5EF4-FFF2-40B4-BE49-F238E27FC236}">
                  <a16:creationId xmlns:a16="http://schemas.microsoft.com/office/drawing/2014/main" id="{4AADF33F-A88D-42CC-A3C1-474AD2EB559B}"/>
                </a:ext>
              </a:extLst>
            </p:cNvPr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15619449" y="8074329"/>
              <a:ext cx="242742" cy="325064"/>
            </a:xfrm>
            <a:prstGeom prst="rect">
              <a:avLst/>
            </a:prstGeom>
          </p:spPr>
        </p:pic>
        <p:sp>
          <p:nvSpPr>
            <p:cNvPr id="296" name="object 332">
              <a:extLst>
                <a:ext uri="{FF2B5EF4-FFF2-40B4-BE49-F238E27FC236}">
                  <a16:creationId xmlns:a16="http://schemas.microsoft.com/office/drawing/2014/main" id="{F33D3F9D-0B37-4616-BFB1-85797722D8CA}"/>
                </a:ext>
              </a:extLst>
            </p:cNvPr>
            <p:cNvSpPr/>
            <p:nvPr/>
          </p:nvSpPr>
          <p:spPr>
            <a:xfrm>
              <a:off x="15571210" y="7913350"/>
              <a:ext cx="291465" cy="322580"/>
            </a:xfrm>
            <a:custGeom>
              <a:avLst/>
              <a:gdLst/>
              <a:ahLst/>
              <a:cxnLst/>
              <a:rect l="l" t="t" r="r" b="b"/>
              <a:pathLst>
                <a:path w="291465" h="322579">
                  <a:moveTo>
                    <a:pt x="290985" y="0"/>
                  </a:moveTo>
                  <a:lnTo>
                    <a:pt x="0" y="39590"/>
                  </a:lnTo>
                  <a:lnTo>
                    <a:pt x="60406" y="321969"/>
                  </a:lnTo>
                  <a:lnTo>
                    <a:pt x="290985" y="298158"/>
                  </a:lnTo>
                  <a:lnTo>
                    <a:pt x="290985" y="0"/>
                  </a:lnTo>
                  <a:close/>
                </a:path>
              </a:pathLst>
            </a:custGeom>
            <a:solidFill>
              <a:srgbClr val="00000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7" name="object 333">
              <a:extLst>
                <a:ext uri="{FF2B5EF4-FFF2-40B4-BE49-F238E27FC236}">
                  <a16:creationId xmlns:a16="http://schemas.microsoft.com/office/drawing/2014/main" id="{5C143F48-B7EC-47C5-AA03-CAAE61124CC1}"/>
                </a:ext>
              </a:extLst>
            </p:cNvPr>
            <p:cNvSpPr/>
            <p:nvPr/>
          </p:nvSpPr>
          <p:spPr>
            <a:xfrm>
              <a:off x="15949119" y="7212703"/>
              <a:ext cx="260985" cy="2350770"/>
            </a:xfrm>
            <a:custGeom>
              <a:avLst/>
              <a:gdLst/>
              <a:ahLst/>
              <a:cxnLst/>
              <a:rect l="l" t="t" r="r" b="b"/>
              <a:pathLst>
                <a:path w="260984" h="2350770">
                  <a:moveTo>
                    <a:pt x="0" y="0"/>
                  </a:moveTo>
                  <a:lnTo>
                    <a:pt x="0" y="2350713"/>
                  </a:lnTo>
                  <a:lnTo>
                    <a:pt x="260766" y="2350713"/>
                  </a:lnTo>
                  <a:lnTo>
                    <a:pt x="260766" y="566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90000">
                <a:alpha val="19999"/>
              </a:srgbClr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object 334">
              <a:extLst>
                <a:ext uri="{FF2B5EF4-FFF2-40B4-BE49-F238E27FC236}">
                  <a16:creationId xmlns:a16="http://schemas.microsoft.com/office/drawing/2014/main" id="{C394607E-B12D-4331-85CC-28A2EA492803}"/>
                </a:ext>
              </a:extLst>
            </p:cNvPr>
            <p:cNvSpPr/>
            <p:nvPr/>
          </p:nvSpPr>
          <p:spPr>
            <a:xfrm>
              <a:off x="15651991" y="7445309"/>
              <a:ext cx="152400" cy="366395"/>
            </a:xfrm>
            <a:custGeom>
              <a:avLst/>
              <a:gdLst/>
              <a:ahLst/>
              <a:cxnLst/>
              <a:rect l="l" t="t" r="r" b="b"/>
              <a:pathLst>
                <a:path w="152400" h="366395">
                  <a:moveTo>
                    <a:pt x="111682" y="0"/>
                  </a:moveTo>
                  <a:lnTo>
                    <a:pt x="0" y="206108"/>
                  </a:lnTo>
                  <a:lnTo>
                    <a:pt x="74196" y="195145"/>
                  </a:lnTo>
                  <a:lnTo>
                    <a:pt x="48668" y="365789"/>
                  </a:lnTo>
                  <a:lnTo>
                    <a:pt x="151869" y="144424"/>
                  </a:lnTo>
                  <a:lnTo>
                    <a:pt x="77379" y="156581"/>
                  </a:lnTo>
                  <a:lnTo>
                    <a:pt x="11168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55449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92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99" name="object 335">
              <a:extLst>
                <a:ext uri="{FF2B5EF4-FFF2-40B4-BE49-F238E27FC236}">
                  <a16:creationId xmlns:a16="http://schemas.microsoft.com/office/drawing/2014/main" id="{32312E1E-07B8-4C82-82DD-42B35C1BD363}"/>
                </a:ext>
              </a:extLst>
            </p:cNvPr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13963395" y="7382932"/>
              <a:ext cx="1828674" cy="2348096"/>
            </a:xfrm>
            <a:prstGeom prst="rect">
              <a:avLst/>
            </a:prstGeom>
          </p:spPr>
        </p:pic>
      </p:grpSp>
      <p:grpSp>
        <p:nvGrpSpPr>
          <p:cNvPr id="300" name="Group 299">
            <a:extLst>
              <a:ext uri="{FF2B5EF4-FFF2-40B4-BE49-F238E27FC236}">
                <a16:creationId xmlns:a16="http://schemas.microsoft.com/office/drawing/2014/main" id="{5A4ABBF8-36B5-4C5C-AD2C-F5F13675644B}"/>
              </a:ext>
            </a:extLst>
          </p:cNvPr>
          <p:cNvGrpSpPr/>
          <p:nvPr/>
        </p:nvGrpSpPr>
        <p:grpSpPr>
          <a:xfrm>
            <a:off x="9631361" y="295448"/>
            <a:ext cx="1915195" cy="547387"/>
            <a:chOff x="2751138" y="3262313"/>
            <a:chExt cx="4665662" cy="1333500"/>
          </a:xfrm>
          <a:solidFill>
            <a:srgbClr val="FFFFFF"/>
          </a:solidFill>
        </p:grpSpPr>
        <p:sp>
          <p:nvSpPr>
            <p:cNvPr id="301" name="Freeform 1">
              <a:extLst>
                <a:ext uri="{FF2B5EF4-FFF2-40B4-BE49-F238E27FC236}">
                  <a16:creationId xmlns:a16="http://schemas.microsoft.com/office/drawing/2014/main" id="{7259C6DE-42C5-47D8-8036-AD33F32865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8013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4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2" name="Freeform 2">
              <a:extLst>
                <a:ext uri="{FF2B5EF4-FFF2-40B4-BE49-F238E27FC236}">
                  <a16:creationId xmlns:a16="http://schemas.microsoft.com/office/drawing/2014/main" id="{69D44E35-9507-44F2-BD40-E09CB55F0B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83050" y="3275013"/>
              <a:ext cx="677863" cy="631825"/>
            </a:xfrm>
            <a:custGeom>
              <a:avLst/>
              <a:gdLst>
                <a:gd name="T0" fmla="*/ 1883 w 1884"/>
                <a:gd name="T1" fmla="*/ 0 h 1755"/>
                <a:gd name="T2" fmla="*/ 1883 w 1884"/>
                <a:gd name="T3" fmla="*/ 298 h 1755"/>
                <a:gd name="T4" fmla="*/ 1174 w 1884"/>
                <a:gd name="T5" fmla="*/ 298 h 1755"/>
                <a:gd name="T6" fmla="*/ 1174 w 1884"/>
                <a:gd name="T7" fmla="*/ 1754 h 1755"/>
                <a:gd name="T8" fmla="*/ 709 w 1884"/>
                <a:gd name="T9" fmla="*/ 1754 h 1755"/>
                <a:gd name="T10" fmla="*/ 709 w 1884"/>
                <a:gd name="T11" fmla="*/ 298 h 1755"/>
                <a:gd name="T12" fmla="*/ 0 w 1884"/>
                <a:gd name="T13" fmla="*/ 298 h 1755"/>
                <a:gd name="T14" fmla="*/ 0 w 1884"/>
                <a:gd name="T15" fmla="*/ 0 h 1755"/>
                <a:gd name="T16" fmla="*/ 1883 w 1884"/>
                <a:gd name="T17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4" h="1755">
                  <a:moveTo>
                    <a:pt x="1883" y="0"/>
                  </a:moveTo>
                  <a:cubicBezTo>
                    <a:pt x="1883" y="4"/>
                    <a:pt x="1883" y="298"/>
                    <a:pt x="1883" y="298"/>
                  </a:cubicBezTo>
                  <a:lnTo>
                    <a:pt x="1174" y="298"/>
                  </a:lnTo>
                  <a:lnTo>
                    <a:pt x="1174" y="1754"/>
                  </a:lnTo>
                  <a:lnTo>
                    <a:pt x="709" y="1754"/>
                  </a:lnTo>
                  <a:lnTo>
                    <a:pt x="709" y="298"/>
                  </a:lnTo>
                  <a:lnTo>
                    <a:pt x="0" y="298"/>
                  </a:lnTo>
                  <a:lnTo>
                    <a:pt x="0" y="0"/>
                  </a:lnTo>
                  <a:lnTo>
                    <a:pt x="1883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3" name="Freeform 3">
              <a:extLst>
                <a:ext uri="{FF2B5EF4-FFF2-40B4-BE49-F238E27FC236}">
                  <a16:creationId xmlns:a16="http://schemas.microsoft.com/office/drawing/2014/main" id="{9C8E8EE5-D55D-4442-9449-EA9D6E71F5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4863" y="3275013"/>
              <a:ext cx="796925" cy="631825"/>
            </a:xfrm>
            <a:custGeom>
              <a:avLst/>
              <a:gdLst>
                <a:gd name="T0" fmla="*/ 2214 w 2215"/>
                <a:gd name="T1" fmla="*/ 1754 h 1755"/>
                <a:gd name="T2" fmla="*/ 1695 w 2215"/>
                <a:gd name="T3" fmla="*/ 1754 h 1755"/>
                <a:gd name="T4" fmla="*/ 1542 w 2215"/>
                <a:gd name="T5" fmla="*/ 1377 h 1755"/>
                <a:gd name="T6" fmla="*/ 672 w 2215"/>
                <a:gd name="T7" fmla="*/ 1377 h 1755"/>
                <a:gd name="T8" fmla="*/ 518 w 2215"/>
                <a:gd name="T9" fmla="*/ 1754 h 1755"/>
                <a:gd name="T10" fmla="*/ 0 w 2215"/>
                <a:gd name="T11" fmla="*/ 1754 h 1755"/>
                <a:gd name="T12" fmla="*/ 825 w 2215"/>
                <a:gd name="T13" fmla="*/ 0 h 1755"/>
                <a:gd name="T14" fmla="*/ 1392 w 2215"/>
                <a:gd name="T15" fmla="*/ 0 h 1755"/>
                <a:gd name="T16" fmla="*/ 2214 w 2215"/>
                <a:gd name="T17" fmla="*/ 1754 h 1755"/>
                <a:gd name="T18" fmla="*/ 788 w 2215"/>
                <a:gd name="T19" fmla="*/ 1095 h 1755"/>
                <a:gd name="T20" fmla="*/ 1434 w 2215"/>
                <a:gd name="T21" fmla="*/ 1095 h 1755"/>
                <a:gd name="T22" fmla="*/ 1107 w 2215"/>
                <a:gd name="T23" fmla="*/ 298 h 1755"/>
                <a:gd name="T24" fmla="*/ 788 w 2215"/>
                <a:gd name="T25" fmla="*/ 1095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5" h="1755">
                  <a:moveTo>
                    <a:pt x="2214" y="1754"/>
                  </a:moveTo>
                  <a:cubicBezTo>
                    <a:pt x="2214" y="1754"/>
                    <a:pt x="1691" y="1754"/>
                    <a:pt x="1695" y="1754"/>
                  </a:cubicBezTo>
                  <a:lnTo>
                    <a:pt x="1542" y="1377"/>
                  </a:lnTo>
                  <a:lnTo>
                    <a:pt x="672" y="1377"/>
                  </a:lnTo>
                  <a:cubicBezTo>
                    <a:pt x="672" y="1377"/>
                    <a:pt x="522" y="1754"/>
                    <a:pt x="518" y="1754"/>
                  </a:cubicBezTo>
                  <a:lnTo>
                    <a:pt x="0" y="1754"/>
                  </a:lnTo>
                  <a:lnTo>
                    <a:pt x="825" y="0"/>
                  </a:lnTo>
                  <a:lnTo>
                    <a:pt x="1392" y="0"/>
                  </a:lnTo>
                  <a:lnTo>
                    <a:pt x="2214" y="1754"/>
                  </a:lnTo>
                  <a:close/>
                  <a:moveTo>
                    <a:pt x="788" y="1095"/>
                  </a:moveTo>
                  <a:lnTo>
                    <a:pt x="1434" y="1095"/>
                  </a:lnTo>
                  <a:lnTo>
                    <a:pt x="1107" y="298"/>
                  </a:lnTo>
                  <a:lnTo>
                    <a:pt x="788" y="1095"/>
                  </a:ln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4" name="Freeform 4">
              <a:extLst>
                <a:ext uri="{FF2B5EF4-FFF2-40B4-BE49-F238E27FC236}">
                  <a16:creationId xmlns:a16="http://schemas.microsoft.com/office/drawing/2014/main" id="{75E08A00-69FB-42FC-9C5F-526B1FAE84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85000" y="3275013"/>
              <a:ext cx="166688" cy="631825"/>
            </a:xfrm>
            <a:custGeom>
              <a:avLst/>
              <a:gdLst>
                <a:gd name="T0" fmla="*/ 232 w 465"/>
                <a:gd name="T1" fmla="*/ 1754 h 1755"/>
                <a:gd name="T2" fmla="*/ 0 w 465"/>
                <a:gd name="T3" fmla="*/ 1754 h 1755"/>
                <a:gd name="T4" fmla="*/ 0 w 465"/>
                <a:gd name="T5" fmla="*/ 0 h 1755"/>
                <a:gd name="T6" fmla="*/ 464 w 465"/>
                <a:gd name="T7" fmla="*/ 0 h 1755"/>
                <a:gd name="T8" fmla="*/ 464 w 465"/>
                <a:gd name="T9" fmla="*/ 1754 h 1755"/>
                <a:gd name="T10" fmla="*/ 232 w 465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5" h="1755">
                  <a:moveTo>
                    <a:pt x="232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4" y="0"/>
                  </a:lnTo>
                  <a:lnTo>
                    <a:pt x="464" y="1754"/>
                  </a:lnTo>
                  <a:lnTo>
                    <a:pt x="232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5" name="Freeform 5">
              <a:extLst>
                <a:ext uri="{FF2B5EF4-FFF2-40B4-BE49-F238E27FC236}">
                  <a16:creationId xmlns:a16="http://schemas.microsoft.com/office/drawing/2014/main" id="{67C29B9D-3D55-4944-8C07-354FC48A5F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9588" y="3275013"/>
              <a:ext cx="673100" cy="631825"/>
            </a:xfrm>
            <a:custGeom>
              <a:avLst/>
              <a:gdLst>
                <a:gd name="T0" fmla="*/ 465 w 1868"/>
                <a:gd name="T1" fmla="*/ 0 h 1755"/>
                <a:gd name="T2" fmla="*/ 465 w 1868"/>
                <a:gd name="T3" fmla="*/ 700 h 1755"/>
                <a:gd name="T4" fmla="*/ 1402 w 1868"/>
                <a:gd name="T5" fmla="*/ 700 h 1755"/>
                <a:gd name="T6" fmla="*/ 1402 w 1868"/>
                <a:gd name="T7" fmla="*/ 0 h 1755"/>
                <a:gd name="T8" fmla="*/ 1867 w 1868"/>
                <a:gd name="T9" fmla="*/ 0 h 1755"/>
                <a:gd name="T10" fmla="*/ 1867 w 1868"/>
                <a:gd name="T11" fmla="*/ 1754 h 1755"/>
                <a:gd name="T12" fmla="*/ 1402 w 1868"/>
                <a:gd name="T13" fmla="*/ 1754 h 1755"/>
                <a:gd name="T14" fmla="*/ 1402 w 1868"/>
                <a:gd name="T15" fmla="*/ 983 h 1755"/>
                <a:gd name="T16" fmla="*/ 465 w 1868"/>
                <a:gd name="T17" fmla="*/ 983 h 1755"/>
                <a:gd name="T18" fmla="*/ 465 w 1868"/>
                <a:gd name="T19" fmla="*/ 1754 h 1755"/>
                <a:gd name="T20" fmla="*/ 0 w 1868"/>
                <a:gd name="T21" fmla="*/ 1754 h 1755"/>
                <a:gd name="T22" fmla="*/ 0 w 1868"/>
                <a:gd name="T23" fmla="*/ 0 h 1755"/>
                <a:gd name="T24" fmla="*/ 465 w 1868"/>
                <a:gd name="T25" fmla="*/ 0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68" h="1755">
                  <a:moveTo>
                    <a:pt x="465" y="0"/>
                  </a:moveTo>
                  <a:cubicBezTo>
                    <a:pt x="465" y="0"/>
                    <a:pt x="465" y="705"/>
                    <a:pt x="465" y="700"/>
                  </a:cubicBezTo>
                  <a:lnTo>
                    <a:pt x="1402" y="700"/>
                  </a:lnTo>
                  <a:cubicBezTo>
                    <a:pt x="1402" y="705"/>
                    <a:pt x="1402" y="0"/>
                    <a:pt x="1402" y="0"/>
                  </a:cubicBezTo>
                  <a:cubicBezTo>
                    <a:pt x="1402" y="0"/>
                    <a:pt x="1863" y="0"/>
                    <a:pt x="1867" y="0"/>
                  </a:cubicBezTo>
                  <a:cubicBezTo>
                    <a:pt x="1867" y="0"/>
                    <a:pt x="1867" y="1750"/>
                    <a:pt x="1867" y="1754"/>
                  </a:cubicBezTo>
                  <a:lnTo>
                    <a:pt x="1402" y="1754"/>
                  </a:lnTo>
                  <a:cubicBezTo>
                    <a:pt x="1402" y="1754"/>
                    <a:pt x="1402" y="987"/>
                    <a:pt x="1402" y="983"/>
                  </a:cubicBezTo>
                  <a:cubicBezTo>
                    <a:pt x="1402" y="987"/>
                    <a:pt x="465" y="983"/>
                    <a:pt x="465" y="983"/>
                  </a:cubicBezTo>
                  <a:cubicBezTo>
                    <a:pt x="465" y="987"/>
                    <a:pt x="465" y="1754"/>
                    <a:pt x="465" y="1754"/>
                  </a:cubicBezTo>
                  <a:lnTo>
                    <a:pt x="0" y="1754"/>
                  </a:lnTo>
                  <a:cubicBezTo>
                    <a:pt x="0" y="1754"/>
                    <a:pt x="5" y="0"/>
                    <a:pt x="0" y="0"/>
                  </a:cubicBezTo>
                  <a:lnTo>
                    <a:pt x="46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6" name="Freeform 6">
              <a:extLst>
                <a:ext uri="{FF2B5EF4-FFF2-40B4-BE49-F238E27FC236}">
                  <a16:creationId xmlns:a16="http://schemas.microsoft.com/office/drawing/2014/main" id="{B23D204C-9894-40BE-A477-E4472DE0A2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4450" y="3275013"/>
              <a:ext cx="168275" cy="631825"/>
            </a:xfrm>
            <a:custGeom>
              <a:avLst/>
              <a:gdLst>
                <a:gd name="T0" fmla="*/ 233 w 466"/>
                <a:gd name="T1" fmla="*/ 1754 h 1755"/>
                <a:gd name="T2" fmla="*/ 0 w 466"/>
                <a:gd name="T3" fmla="*/ 1754 h 1755"/>
                <a:gd name="T4" fmla="*/ 0 w 466"/>
                <a:gd name="T5" fmla="*/ 0 h 1755"/>
                <a:gd name="T6" fmla="*/ 465 w 466"/>
                <a:gd name="T7" fmla="*/ 0 h 1755"/>
                <a:gd name="T8" fmla="*/ 465 w 466"/>
                <a:gd name="T9" fmla="*/ 1754 h 1755"/>
                <a:gd name="T10" fmla="*/ 233 w 466"/>
                <a:gd name="T11" fmla="*/ 1754 h 1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6" h="1755">
                  <a:moveTo>
                    <a:pt x="233" y="1754"/>
                  </a:moveTo>
                  <a:lnTo>
                    <a:pt x="0" y="1754"/>
                  </a:lnTo>
                  <a:lnTo>
                    <a:pt x="0" y="0"/>
                  </a:lnTo>
                  <a:lnTo>
                    <a:pt x="465" y="0"/>
                  </a:lnTo>
                  <a:lnTo>
                    <a:pt x="465" y="1754"/>
                  </a:lnTo>
                  <a:lnTo>
                    <a:pt x="233" y="175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7" name="Freeform 7">
              <a:extLst>
                <a:ext uri="{FF2B5EF4-FFF2-40B4-BE49-F238E27FC236}">
                  <a16:creationId xmlns:a16="http://schemas.microsoft.com/office/drawing/2014/main" id="{3FB48E2F-550F-47DC-AE7C-AC38932D7A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83213" y="3262313"/>
              <a:ext cx="715962" cy="663575"/>
            </a:xfrm>
            <a:custGeom>
              <a:avLst/>
              <a:gdLst>
                <a:gd name="T0" fmla="*/ 62 w 1988"/>
                <a:gd name="T1" fmla="*/ 1307 h 1842"/>
                <a:gd name="T2" fmla="*/ 0 w 1988"/>
                <a:gd name="T3" fmla="*/ 933 h 1842"/>
                <a:gd name="T4" fmla="*/ 120 w 1988"/>
                <a:gd name="T5" fmla="*/ 423 h 1842"/>
                <a:gd name="T6" fmla="*/ 518 w 1988"/>
                <a:gd name="T7" fmla="*/ 91 h 1842"/>
                <a:gd name="T8" fmla="*/ 1033 w 1988"/>
                <a:gd name="T9" fmla="*/ 0 h 1842"/>
                <a:gd name="T10" fmla="*/ 1618 w 1988"/>
                <a:gd name="T11" fmla="*/ 125 h 1842"/>
                <a:gd name="T12" fmla="*/ 1950 w 1988"/>
                <a:gd name="T13" fmla="*/ 531 h 1842"/>
                <a:gd name="T14" fmla="*/ 1966 w 1988"/>
                <a:gd name="T15" fmla="*/ 643 h 1842"/>
                <a:gd name="T16" fmla="*/ 1481 w 1988"/>
                <a:gd name="T17" fmla="*/ 643 h 1842"/>
                <a:gd name="T18" fmla="*/ 1456 w 1988"/>
                <a:gd name="T19" fmla="*/ 506 h 1842"/>
                <a:gd name="T20" fmla="*/ 1240 w 1988"/>
                <a:gd name="T21" fmla="*/ 303 h 1842"/>
                <a:gd name="T22" fmla="*/ 1037 w 1988"/>
                <a:gd name="T23" fmla="*/ 274 h 1842"/>
                <a:gd name="T24" fmla="*/ 809 w 1988"/>
                <a:gd name="T25" fmla="*/ 315 h 1842"/>
                <a:gd name="T26" fmla="*/ 556 w 1988"/>
                <a:gd name="T27" fmla="*/ 573 h 1842"/>
                <a:gd name="T28" fmla="*/ 494 w 1988"/>
                <a:gd name="T29" fmla="*/ 942 h 1842"/>
                <a:gd name="T30" fmla="*/ 539 w 1988"/>
                <a:gd name="T31" fmla="*/ 1249 h 1842"/>
                <a:gd name="T32" fmla="*/ 792 w 1988"/>
                <a:gd name="T33" fmla="*/ 1527 h 1842"/>
                <a:gd name="T34" fmla="*/ 1041 w 1988"/>
                <a:gd name="T35" fmla="*/ 1572 h 1842"/>
                <a:gd name="T36" fmla="*/ 1257 w 1988"/>
                <a:gd name="T37" fmla="*/ 1539 h 1842"/>
                <a:gd name="T38" fmla="*/ 1460 w 1988"/>
                <a:gd name="T39" fmla="*/ 1356 h 1842"/>
                <a:gd name="T40" fmla="*/ 1497 w 1988"/>
                <a:gd name="T41" fmla="*/ 1170 h 1842"/>
                <a:gd name="T42" fmla="*/ 1987 w 1988"/>
                <a:gd name="T43" fmla="*/ 1170 h 1842"/>
                <a:gd name="T44" fmla="*/ 1962 w 1988"/>
                <a:gd name="T45" fmla="*/ 1336 h 1842"/>
                <a:gd name="T46" fmla="*/ 1638 w 1988"/>
                <a:gd name="T47" fmla="*/ 1721 h 1842"/>
                <a:gd name="T48" fmla="*/ 1041 w 1988"/>
                <a:gd name="T49" fmla="*/ 1841 h 1842"/>
                <a:gd name="T50" fmla="*/ 568 w 1988"/>
                <a:gd name="T51" fmla="*/ 1771 h 1842"/>
                <a:gd name="T52" fmla="*/ 62 w 1988"/>
                <a:gd name="T53" fmla="*/ 1307 h 1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988" h="1842">
                  <a:moveTo>
                    <a:pt x="62" y="1307"/>
                  </a:moveTo>
                  <a:cubicBezTo>
                    <a:pt x="21" y="1191"/>
                    <a:pt x="0" y="1066"/>
                    <a:pt x="0" y="933"/>
                  </a:cubicBezTo>
                  <a:cubicBezTo>
                    <a:pt x="0" y="751"/>
                    <a:pt x="33" y="573"/>
                    <a:pt x="120" y="423"/>
                  </a:cubicBezTo>
                  <a:cubicBezTo>
                    <a:pt x="211" y="270"/>
                    <a:pt x="348" y="154"/>
                    <a:pt x="518" y="91"/>
                  </a:cubicBezTo>
                  <a:cubicBezTo>
                    <a:pt x="680" y="33"/>
                    <a:pt x="850" y="0"/>
                    <a:pt x="1033" y="0"/>
                  </a:cubicBezTo>
                  <a:cubicBezTo>
                    <a:pt x="1240" y="0"/>
                    <a:pt x="1439" y="46"/>
                    <a:pt x="1618" y="125"/>
                  </a:cubicBezTo>
                  <a:cubicBezTo>
                    <a:pt x="1784" y="195"/>
                    <a:pt x="1912" y="349"/>
                    <a:pt x="1950" y="531"/>
                  </a:cubicBezTo>
                  <a:cubicBezTo>
                    <a:pt x="1958" y="568"/>
                    <a:pt x="1962" y="606"/>
                    <a:pt x="1966" y="643"/>
                  </a:cubicBezTo>
                  <a:lnTo>
                    <a:pt x="1481" y="643"/>
                  </a:lnTo>
                  <a:cubicBezTo>
                    <a:pt x="1481" y="597"/>
                    <a:pt x="1472" y="552"/>
                    <a:pt x="1456" y="506"/>
                  </a:cubicBezTo>
                  <a:cubicBezTo>
                    <a:pt x="1419" y="411"/>
                    <a:pt x="1340" y="332"/>
                    <a:pt x="1240" y="303"/>
                  </a:cubicBezTo>
                  <a:cubicBezTo>
                    <a:pt x="1174" y="282"/>
                    <a:pt x="1107" y="274"/>
                    <a:pt x="1037" y="274"/>
                  </a:cubicBezTo>
                  <a:cubicBezTo>
                    <a:pt x="958" y="274"/>
                    <a:pt x="879" y="286"/>
                    <a:pt x="809" y="315"/>
                  </a:cubicBezTo>
                  <a:cubicBezTo>
                    <a:pt x="688" y="357"/>
                    <a:pt x="597" y="452"/>
                    <a:pt x="556" y="573"/>
                  </a:cubicBezTo>
                  <a:cubicBezTo>
                    <a:pt x="514" y="689"/>
                    <a:pt x="494" y="813"/>
                    <a:pt x="494" y="942"/>
                  </a:cubicBezTo>
                  <a:cubicBezTo>
                    <a:pt x="494" y="1050"/>
                    <a:pt x="510" y="1153"/>
                    <a:pt x="539" y="1249"/>
                  </a:cubicBezTo>
                  <a:cubicBezTo>
                    <a:pt x="572" y="1377"/>
                    <a:pt x="672" y="1481"/>
                    <a:pt x="792" y="1527"/>
                  </a:cubicBezTo>
                  <a:cubicBezTo>
                    <a:pt x="871" y="1556"/>
                    <a:pt x="954" y="1572"/>
                    <a:pt x="1041" y="1572"/>
                  </a:cubicBezTo>
                  <a:cubicBezTo>
                    <a:pt x="1116" y="1572"/>
                    <a:pt x="1186" y="1560"/>
                    <a:pt x="1257" y="1539"/>
                  </a:cubicBezTo>
                  <a:cubicBezTo>
                    <a:pt x="1348" y="1510"/>
                    <a:pt x="1423" y="1444"/>
                    <a:pt x="1460" y="1356"/>
                  </a:cubicBezTo>
                  <a:cubicBezTo>
                    <a:pt x="1485" y="1298"/>
                    <a:pt x="1497" y="1236"/>
                    <a:pt x="1497" y="1170"/>
                  </a:cubicBezTo>
                  <a:lnTo>
                    <a:pt x="1987" y="1170"/>
                  </a:lnTo>
                  <a:cubicBezTo>
                    <a:pt x="1983" y="1228"/>
                    <a:pt x="1974" y="1282"/>
                    <a:pt x="1962" y="1336"/>
                  </a:cubicBezTo>
                  <a:cubicBezTo>
                    <a:pt x="1920" y="1510"/>
                    <a:pt x="1800" y="1655"/>
                    <a:pt x="1638" y="1721"/>
                  </a:cubicBezTo>
                  <a:cubicBezTo>
                    <a:pt x="1456" y="1800"/>
                    <a:pt x="1253" y="1841"/>
                    <a:pt x="1041" y="1841"/>
                  </a:cubicBezTo>
                  <a:cubicBezTo>
                    <a:pt x="875" y="1841"/>
                    <a:pt x="718" y="1817"/>
                    <a:pt x="568" y="1771"/>
                  </a:cubicBezTo>
                  <a:cubicBezTo>
                    <a:pt x="336" y="1692"/>
                    <a:pt x="137" y="1527"/>
                    <a:pt x="62" y="130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8" name="Freeform 8">
              <a:extLst>
                <a:ext uri="{FF2B5EF4-FFF2-40B4-BE49-F238E27FC236}">
                  <a16:creationId xmlns:a16="http://schemas.microsoft.com/office/drawing/2014/main" id="{D8E91731-0CE6-4023-B128-329C3D94C3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1138" y="4083050"/>
              <a:ext cx="153987" cy="398463"/>
            </a:xfrm>
            <a:custGeom>
              <a:avLst/>
              <a:gdLst>
                <a:gd name="T0" fmla="*/ 415 w 428"/>
                <a:gd name="T1" fmla="*/ 0 h 1109"/>
                <a:gd name="T2" fmla="*/ 0 w 428"/>
                <a:gd name="T3" fmla="*/ 38 h 1109"/>
                <a:gd name="T4" fmla="*/ 0 w 428"/>
                <a:gd name="T5" fmla="*/ 100 h 1109"/>
                <a:gd name="T6" fmla="*/ 12 w 428"/>
                <a:gd name="T7" fmla="*/ 100 h 1109"/>
                <a:gd name="T8" fmla="*/ 178 w 428"/>
                <a:gd name="T9" fmla="*/ 241 h 1109"/>
                <a:gd name="T10" fmla="*/ 178 w 428"/>
                <a:gd name="T11" fmla="*/ 1108 h 1109"/>
                <a:gd name="T12" fmla="*/ 427 w 428"/>
                <a:gd name="T13" fmla="*/ 1108 h 1109"/>
                <a:gd name="T14" fmla="*/ 427 w 428"/>
                <a:gd name="T15" fmla="*/ 0 h 1109"/>
                <a:gd name="T16" fmla="*/ 415 w 428"/>
                <a:gd name="T17" fmla="*/ 0 h 1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8" h="1109">
                  <a:moveTo>
                    <a:pt x="415" y="0"/>
                  </a:moveTo>
                  <a:lnTo>
                    <a:pt x="0" y="38"/>
                  </a:lnTo>
                  <a:lnTo>
                    <a:pt x="0" y="100"/>
                  </a:lnTo>
                  <a:lnTo>
                    <a:pt x="12" y="100"/>
                  </a:lnTo>
                  <a:cubicBezTo>
                    <a:pt x="178" y="121"/>
                    <a:pt x="178" y="121"/>
                    <a:pt x="178" y="241"/>
                  </a:cubicBezTo>
                  <a:lnTo>
                    <a:pt x="178" y="1108"/>
                  </a:lnTo>
                  <a:lnTo>
                    <a:pt x="427" y="1108"/>
                  </a:lnTo>
                  <a:lnTo>
                    <a:pt x="427" y="0"/>
                  </a:lnTo>
                  <a:lnTo>
                    <a:pt x="41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9" name="Freeform 9">
              <a:extLst>
                <a:ext uri="{FF2B5EF4-FFF2-40B4-BE49-F238E27FC236}">
                  <a16:creationId xmlns:a16="http://schemas.microsoft.com/office/drawing/2014/main" id="{6599C605-232A-470A-9F55-EC44323AFE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86088" y="4198938"/>
              <a:ext cx="315912" cy="282575"/>
            </a:xfrm>
            <a:custGeom>
              <a:avLst/>
              <a:gdLst>
                <a:gd name="T0" fmla="*/ 643 w 876"/>
                <a:gd name="T1" fmla="*/ 4 h 785"/>
                <a:gd name="T2" fmla="*/ 353 w 876"/>
                <a:gd name="T3" fmla="*/ 170 h 785"/>
                <a:gd name="T4" fmla="*/ 353 w 876"/>
                <a:gd name="T5" fmla="*/ 0 h 785"/>
                <a:gd name="T6" fmla="*/ 336 w 876"/>
                <a:gd name="T7" fmla="*/ 4 h 785"/>
                <a:gd name="T8" fmla="*/ 0 w 876"/>
                <a:gd name="T9" fmla="*/ 58 h 785"/>
                <a:gd name="T10" fmla="*/ 0 w 876"/>
                <a:gd name="T11" fmla="*/ 116 h 785"/>
                <a:gd name="T12" fmla="*/ 17 w 876"/>
                <a:gd name="T13" fmla="*/ 116 h 785"/>
                <a:gd name="T14" fmla="*/ 145 w 876"/>
                <a:gd name="T15" fmla="*/ 240 h 785"/>
                <a:gd name="T16" fmla="*/ 145 w 876"/>
                <a:gd name="T17" fmla="*/ 784 h 785"/>
                <a:gd name="T18" fmla="*/ 353 w 876"/>
                <a:gd name="T19" fmla="*/ 784 h 785"/>
                <a:gd name="T20" fmla="*/ 353 w 876"/>
                <a:gd name="T21" fmla="*/ 386 h 785"/>
                <a:gd name="T22" fmla="*/ 560 w 876"/>
                <a:gd name="T23" fmla="*/ 141 h 785"/>
                <a:gd name="T24" fmla="*/ 664 w 876"/>
                <a:gd name="T25" fmla="*/ 361 h 785"/>
                <a:gd name="T26" fmla="*/ 664 w 876"/>
                <a:gd name="T27" fmla="*/ 784 h 785"/>
                <a:gd name="T28" fmla="*/ 871 w 876"/>
                <a:gd name="T29" fmla="*/ 784 h 785"/>
                <a:gd name="T30" fmla="*/ 871 w 876"/>
                <a:gd name="T31" fmla="*/ 240 h 785"/>
                <a:gd name="T32" fmla="*/ 643 w 876"/>
                <a:gd name="T33" fmla="*/ 4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6" h="785">
                  <a:moveTo>
                    <a:pt x="643" y="4"/>
                  </a:moveTo>
                  <a:cubicBezTo>
                    <a:pt x="490" y="4"/>
                    <a:pt x="398" y="108"/>
                    <a:pt x="353" y="170"/>
                  </a:cubicBezTo>
                  <a:cubicBezTo>
                    <a:pt x="353" y="112"/>
                    <a:pt x="353" y="0"/>
                    <a:pt x="353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7" y="116"/>
                  </a:lnTo>
                  <a:cubicBezTo>
                    <a:pt x="124" y="120"/>
                    <a:pt x="145" y="141"/>
                    <a:pt x="145" y="240"/>
                  </a:cubicBezTo>
                  <a:lnTo>
                    <a:pt x="145" y="784"/>
                  </a:lnTo>
                  <a:lnTo>
                    <a:pt x="353" y="784"/>
                  </a:lnTo>
                  <a:lnTo>
                    <a:pt x="353" y="386"/>
                  </a:lnTo>
                  <a:cubicBezTo>
                    <a:pt x="353" y="278"/>
                    <a:pt x="452" y="141"/>
                    <a:pt x="560" y="141"/>
                  </a:cubicBezTo>
                  <a:cubicBezTo>
                    <a:pt x="660" y="141"/>
                    <a:pt x="664" y="224"/>
                    <a:pt x="664" y="361"/>
                  </a:cubicBezTo>
                  <a:lnTo>
                    <a:pt x="664" y="784"/>
                  </a:lnTo>
                  <a:lnTo>
                    <a:pt x="871" y="784"/>
                  </a:lnTo>
                  <a:lnTo>
                    <a:pt x="871" y="240"/>
                  </a:lnTo>
                  <a:cubicBezTo>
                    <a:pt x="875" y="87"/>
                    <a:pt x="792" y="4"/>
                    <a:pt x="643" y="4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0" name="Freeform 10">
              <a:extLst>
                <a:ext uri="{FF2B5EF4-FFF2-40B4-BE49-F238E27FC236}">
                  <a16:creationId xmlns:a16="http://schemas.microsoft.com/office/drawing/2014/main" id="{99C76A35-CEE5-49C7-84FB-AAF6FAF7D2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86138" y="4200525"/>
              <a:ext cx="212725" cy="288925"/>
            </a:xfrm>
            <a:custGeom>
              <a:avLst/>
              <a:gdLst>
                <a:gd name="T0" fmla="*/ 348 w 590"/>
                <a:gd name="T1" fmla="*/ 303 h 802"/>
                <a:gd name="T2" fmla="*/ 195 w 590"/>
                <a:gd name="T3" fmla="*/ 170 h 802"/>
                <a:gd name="T4" fmla="*/ 307 w 590"/>
                <a:gd name="T5" fmla="*/ 100 h 802"/>
                <a:gd name="T6" fmla="*/ 502 w 590"/>
                <a:gd name="T7" fmla="*/ 166 h 802"/>
                <a:gd name="T8" fmla="*/ 535 w 590"/>
                <a:gd name="T9" fmla="*/ 187 h 802"/>
                <a:gd name="T10" fmla="*/ 535 w 590"/>
                <a:gd name="T11" fmla="*/ 162 h 802"/>
                <a:gd name="T12" fmla="*/ 535 w 590"/>
                <a:gd name="T13" fmla="*/ 33 h 802"/>
                <a:gd name="T14" fmla="*/ 506 w 590"/>
                <a:gd name="T15" fmla="*/ 25 h 802"/>
                <a:gd name="T16" fmla="*/ 315 w 590"/>
                <a:gd name="T17" fmla="*/ 0 h 802"/>
                <a:gd name="T18" fmla="*/ 0 w 590"/>
                <a:gd name="T19" fmla="*/ 224 h 802"/>
                <a:gd name="T20" fmla="*/ 228 w 590"/>
                <a:gd name="T21" fmla="*/ 465 h 802"/>
                <a:gd name="T22" fmla="*/ 390 w 590"/>
                <a:gd name="T23" fmla="*/ 606 h 802"/>
                <a:gd name="T24" fmla="*/ 249 w 590"/>
                <a:gd name="T25" fmla="*/ 697 h 802"/>
                <a:gd name="T26" fmla="*/ 20 w 590"/>
                <a:gd name="T27" fmla="*/ 618 h 802"/>
                <a:gd name="T28" fmla="*/ 0 w 590"/>
                <a:gd name="T29" fmla="*/ 606 h 802"/>
                <a:gd name="T30" fmla="*/ 0 w 590"/>
                <a:gd name="T31" fmla="*/ 767 h 802"/>
                <a:gd name="T32" fmla="*/ 16 w 590"/>
                <a:gd name="T33" fmla="*/ 771 h 802"/>
                <a:gd name="T34" fmla="*/ 244 w 590"/>
                <a:gd name="T35" fmla="*/ 801 h 802"/>
                <a:gd name="T36" fmla="*/ 580 w 590"/>
                <a:gd name="T37" fmla="*/ 568 h 802"/>
                <a:gd name="T38" fmla="*/ 348 w 590"/>
                <a:gd name="T39" fmla="*/ 303 h 8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0" h="802">
                  <a:moveTo>
                    <a:pt x="348" y="303"/>
                  </a:moveTo>
                  <a:cubicBezTo>
                    <a:pt x="265" y="261"/>
                    <a:pt x="195" y="228"/>
                    <a:pt x="195" y="170"/>
                  </a:cubicBezTo>
                  <a:cubicBezTo>
                    <a:pt x="195" y="104"/>
                    <a:pt x="274" y="100"/>
                    <a:pt x="307" y="100"/>
                  </a:cubicBezTo>
                  <a:cubicBezTo>
                    <a:pt x="394" y="100"/>
                    <a:pt x="468" y="145"/>
                    <a:pt x="502" y="166"/>
                  </a:cubicBezTo>
                  <a:lnTo>
                    <a:pt x="535" y="187"/>
                  </a:lnTo>
                  <a:lnTo>
                    <a:pt x="535" y="162"/>
                  </a:lnTo>
                  <a:lnTo>
                    <a:pt x="535" y="33"/>
                  </a:lnTo>
                  <a:lnTo>
                    <a:pt x="506" y="25"/>
                  </a:lnTo>
                  <a:cubicBezTo>
                    <a:pt x="468" y="17"/>
                    <a:pt x="398" y="0"/>
                    <a:pt x="315" y="0"/>
                  </a:cubicBezTo>
                  <a:cubicBezTo>
                    <a:pt x="120" y="0"/>
                    <a:pt x="0" y="83"/>
                    <a:pt x="0" y="224"/>
                  </a:cubicBezTo>
                  <a:cubicBezTo>
                    <a:pt x="0" y="353"/>
                    <a:pt x="124" y="411"/>
                    <a:pt x="228" y="465"/>
                  </a:cubicBezTo>
                  <a:cubicBezTo>
                    <a:pt x="311" y="506"/>
                    <a:pt x="390" y="543"/>
                    <a:pt x="390" y="606"/>
                  </a:cubicBezTo>
                  <a:cubicBezTo>
                    <a:pt x="390" y="664"/>
                    <a:pt x="340" y="697"/>
                    <a:pt x="249" y="697"/>
                  </a:cubicBezTo>
                  <a:cubicBezTo>
                    <a:pt x="149" y="697"/>
                    <a:pt x="70" y="647"/>
                    <a:pt x="20" y="618"/>
                  </a:cubicBezTo>
                  <a:lnTo>
                    <a:pt x="0" y="606"/>
                  </a:lnTo>
                  <a:lnTo>
                    <a:pt x="0" y="767"/>
                  </a:lnTo>
                  <a:lnTo>
                    <a:pt x="16" y="771"/>
                  </a:lnTo>
                  <a:cubicBezTo>
                    <a:pt x="58" y="780"/>
                    <a:pt x="137" y="801"/>
                    <a:pt x="244" y="801"/>
                  </a:cubicBezTo>
                  <a:cubicBezTo>
                    <a:pt x="456" y="801"/>
                    <a:pt x="580" y="713"/>
                    <a:pt x="580" y="568"/>
                  </a:cubicBezTo>
                  <a:cubicBezTo>
                    <a:pt x="589" y="419"/>
                    <a:pt x="460" y="357"/>
                    <a:pt x="348" y="303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1" name="Freeform 11">
              <a:extLst>
                <a:ext uri="{FF2B5EF4-FFF2-40B4-BE49-F238E27FC236}">
                  <a16:creationId xmlns:a16="http://schemas.microsoft.com/office/drawing/2014/main" id="{56029A24-D921-4003-95B9-A6D4A09654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75" y="4198938"/>
              <a:ext cx="325438" cy="396875"/>
            </a:xfrm>
            <a:custGeom>
              <a:avLst/>
              <a:gdLst>
                <a:gd name="T0" fmla="*/ 577 w 906"/>
                <a:gd name="T1" fmla="*/ 4 h 1104"/>
                <a:gd name="T2" fmla="*/ 357 w 906"/>
                <a:gd name="T3" fmla="*/ 112 h 1104"/>
                <a:gd name="T4" fmla="*/ 357 w 906"/>
                <a:gd name="T5" fmla="*/ 0 h 1104"/>
                <a:gd name="T6" fmla="*/ 336 w 906"/>
                <a:gd name="T7" fmla="*/ 4 h 1104"/>
                <a:gd name="T8" fmla="*/ 0 w 906"/>
                <a:gd name="T9" fmla="*/ 58 h 1104"/>
                <a:gd name="T10" fmla="*/ 0 w 906"/>
                <a:gd name="T11" fmla="*/ 116 h 1104"/>
                <a:gd name="T12" fmla="*/ 13 w 906"/>
                <a:gd name="T13" fmla="*/ 116 h 1104"/>
                <a:gd name="T14" fmla="*/ 137 w 906"/>
                <a:gd name="T15" fmla="*/ 240 h 1104"/>
                <a:gd name="T16" fmla="*/ 137 w 906"/>
                <a:gd name="T17" fmla="*/ 1103 h 1104"/>
                <a:gd name="T18" fmla="*/ 345 w 906"/>
                <a:gd name="T19" fmla="*/ 1103 h 1104"/>
                <a:gd name="T20" fmla="*/ 345 w 906"/>
                <a:gd name="T21" fmla="*/ 709 h 1104"/>
                <a:gd name="T22" fmla="*/ 560 w 906"/>
                <a:gd name="T23" fmla="*/ 800 h 1104"/>
                <a:gd name="T24" fmla="*/ 896 w 906"/>
                <a:gd name="T25" fmla="*/ 390 h 1104"/>
                <a:gd name="T26" fmla="*/ 577 w 906"/>
                <a:gd name="T27" fmla="*/ 4 h 1104"/>
                <a:gd name="T28" fmla="*/ 515 w 906"/>
                <a:gd name="T29" fmla="*/ 120 h 1104"/>
                <a:gd name="T30" fmla="*/ 672 w 906"/>
                <a:gd name="T31" fmla="*/ 394 h 1104"/>
                <a:gd name="T32" fmla="*/ 515 w 906"/>
                <a:gd name="T33" fmla="*/ 688 h 1104"/>
                <a:gd name="T34" fmla="*/ 349 w 906"/>
                <a:gd name="T35" fmla="*/ 456 h 1104"/>
                <a:gd name="T36" fmla="*/ 349 w 906"/>
                <a:gd name="T37" fmla="*/ 390 h 1104"/>
                <a:gd name="T38" fmla="*/ 515 w 906"/>
                <a:gd name="T39" fmla="*/ 120 h 1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06" h="1104">
                  <a:moveTo>
                    <a:pt x="577" y="4"/>
                  </a:moveTo>
                  <a:cubicBezTo>
                    <a:pt x="498" y="4"/>
                    <a:pt x="424" y="41"/>
                    <a:pt x="357" y="112"/>
                  </a:cubicBezTo>
                  <a:cubicBezTo>
                    <a:pt x="357" y="75"/>
                    <a:pt x="357" y="0"/>
                    <a:pt x="357" y="0"/>
                  </a:cubicBezTo>
                  <a:lnTo>
                    <a:pt x="336" y="4"/>
                  </a:lnTo>
                  <a:lnTo>
                    <a:pt x="0" y="58"/>
                  </a:lnTo>
                  <a:lnTo>
                    <a:pt x="0" y="116"/>
                  </a:lnTo>
                  <a:lnTo>
                    <a:pt x="13" y="116"/>
                  </a:lnTo>
                  <a:cubicBezTo>
                    <a:pt x="117" y="120"/>
                    <a:pt x="137" y="141"/>
                    <a:pt x="137" y="240"/>
                  </a:cubicBezTo>
                  <a:lnTo>
                    <a:pt x="137" y="1103"/>
                  </a:lnTo>
                  <a:lnTo>
                    <a:pt x="345" y="1103"/>
                  </a:lnTo>
                  <a:cubicBezTo>
                    <a:pt x="345" y="1103"/>
                    <a:pt x="345" y="775"/>
                    <a:pt x="345" y="709"/>
                  </a:cubicBezTo>
                  <a:cubicBezTo>
                    <a:pt x="382" y="755"/>
                    <a:pt x="444" y="800"/>
                    <a:pt x="560" y="800"/>
                  </a:cubicBezTo>
                  <a:cubicBezTo>
                    <a:pt x="780" y="800"/>
                    <a:pt x="896" y="659"/>
                    <a:pt x="896" y="390"/>
                  </a:cubicBezTo>
                  <a:cubicBezTo>
                    <a:pt x="905" y="145"/>
                    <a:pt x="784" y="4"/>
                    <a:pt x="577" y="4"/>
                  </a:cubicBezTo>
                  <a:close/>
                  <a:moveTo>
                    <a:pt x="515" y="120"/>
                  </a:moveTo>
                  <a:cubicBezTo>
                    <a:pt x="656" y="120"/>
                    <a:pt x="672" y="274"/>
                    <a:pt x="672" y="394"/>
                  </a:cubicBezTo>
                  <a:cubicBezTo>
                    <a:pt x="672" y="593"/>
                    <a:pt x="623" y="688"/>
                    <a:pt x="515" y="688"/>
                  </a:cubicBezTo>
                  <a:cubicBezTo>
                    <a:pt x="378" y="688"/>
                    <a:pt x="349" y="560"/>
                    <a:pt x="349" y="456"/>
                  </a:cubicBezTo>
                  <a:lnTo>
                    <a:pt x="349" y="390"/>
                  </a:lnTo>
                  <a:cubicBezTo>
                    <a:pt x="353" y="307"/>
                    <a:pt x="370" y="120"/>
                    <a:pt x="515" y="12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2" name="Freeform 12">
              <a:extLst>
                <a:ext uri="{FF2B5EF4-FFF2-40B4-BE49-F238E27FC236}">
                  <a16:creationId xmlns:a16="http://schemas.microsoft.com/office/drawing/2014/main" id="{5F719D3E-5FE6-4D09-AA4D-4A235E8A8C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13200" y="4198938"/>
              <a:ext cx="123825" cy="282575"/>
            </a:xfrm>
            <a:custGeom>
              <a:avLst/>
              <a:gdLst>
                <a:gd name="T0" fmla="*/ 0 w 345"/>
                <a:gd name="T1" fmla="*/ 58 h 785"/>
                <a:gd name="T2" fmla="*/ 0 w 345"/>
                <a:gd name="T3" fmla="*/ 116 h 785"/>
                <a:gd name="T4" fmla="*/ 12 w 345"/>
                <a:gd name="T5" fmla="*/ 116 h 785"/>
                <a:gd name="T6" fmla="*/ 137 w 345"/>
                <a:gd name="T7" fmla="*/ 240 h 785"/>
                <a:gd name="T8" fmla="*/ 137 w 345"/>
                <a:gd name="T9" fmla="*/ 784 h 785"/>
                <a:gd name="T10" fmla="*/ 344 w 345"/>
                <a:gd name="T11" fmla="*/ 784 h 785"/>
                <a:gd name="T12" fmla="*/ 344 w 345"/>
                <a:gd name="T13" fmla="*/ 0 h 785"/>
                <a:gd name="T14" fmla="*/ 328 w 345"/>
                <a:gd name="T15" fmla="*/ 4 h 785"/>
                <a:gd name="T16" fmla="*/ 0 w 345"/>
                <a:gd name="T17" fmla="*/ 58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5" h="785">
                  <a:moveTo>
                    <a:pt x="0" y="58"/>
                  </a:moveTo>
                  <a:lnTo>
                    <a:pt x="0" y="116"/>
                  </a:lnTo>
                  <a:lnTo>
                    <a:pt x="12" y="116"/>
                  </a:lnTo>
                  <a:cubicBezTo>
                    <a:pt x="116" y="120"/>
                    <a:pt x="137" y="141"/>
                    <a:pt x="137" y="240"/>
                  </a:cubicBezTo>
                  <a:lnTo>
                    <a:pt x="137" y="784"/>
                  </a:lnTo>
                  <a:lnTo>
                    <a:pt x="344" y="784"/>
                  </a:lnTo>
                  <a:lnTo>
                    <a:pt x="344" y="0"/>
                  </a:lnTo>
                  <a:lnTo>
                    <a:pt x="328" y="4"/>
                  </a:lnTo>
                  <a:lnTo>
                    <a:pt x="0" y="5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3" name="Freeform 13">
              <a:extLst>
                <a:ext uri="{FF2B5EF4-FFF2-40B4-BE49-F238E27FC236}">
                  <a16:creationId xmlns:a16="http://schemas.microsoft.com/office/drawing/2014/main" id="{C5EA58A1-EEFC-447E-9ECA-326B54E605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56063" y="4084638"/>
              <a:ext cx="93662" cy="82550"/>
            </a:xfrm>
            <a:custGeom>
              <a:avLst/>
              <a:gdLst>
                <a:gd name="T0" fmla="*/ 129 w 262"/>
                <a:gd name="T1" fmla="*/ 228 h 229"/>
                <a:gd name="T2" fmla="*/ 261 w 262"/>
                <a:gd name="T3" fmla="*/ 112 h 229"/>
                <a:gd name="T4" fmla="*/ 133 w 262"/>
                <a:gd name="T5" fmla="*/ 0 h 229"/>
                <a:gd name="T6" fmla="*/ 4 w 262"/>
                <a:gd name="T7" fmla="*/ 112 h 229"/>
                <a:gd name="T8" fmla="*/ 129 w 262"/>
                <a:gd name="T9" fmla="*/ 228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" h="229">
                  <a:moveTo>
                    <a:pt x="129" y="228"/>
                  </a:moveTo>
                  <a:cubicBezTo>
                    <a:pt x="199" y="228"/>
                    <a:pt x="261" y="178"/>
                    <a:pt x="261" y="112"/>
                  </a:cubicBezTo>
                  <a:cubicBezTo>
                    <a:pt x="261" y="49"/>
                    <a:pt x="203" y="0"/>
                    <a:pt x="133" y="0"/>
                  </a:cubicBezTo>
                  <a:cubicBezTo>
                    <a:pt x="62" y="0"/>
                    <a:pt x="4" y="49"/>
                    <a:pt x="4" y="112"/>
                  </a:cubicBezTo>
                  <a:cubicBezTo>
                    <a:pt x="0" y="178"/>
                    <a:pt x="58" y="228"/>
                    <a:pt x="129" y="228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4" name="Freeform 14">
              <a:extLst>
                <a:ext uri="{FF2B5EF4-FFF2-40B4-BE49-F238E27FC236}">
                  <a16:creationId xmlns:a16="http://schemas.microsoft.com/office/drawing/2014/main" id="{DD50FD0F-25F5-488A-A495-6690F798A6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11638" y="4200525"/>
              <a:ext cx="244475" cy="280988"/>
            </a:xfrm>
            <a:custGeom>
              <a:avLst/>
              <a:gdLst>
                <a:gd name="T0" fmla="*/ 676 w 677"/>
                <a:gd name="T1" fmla="*/ 174 h 781"/>
                <a:gd name="T2" fmla="*/ 676 w 677"/>
                <a:gd name="T3" fmla="*/ 12 h 781"/>
                <a:gd name="T4" fmla="*/ 663 w 677"/>
                <a:gd name="T5" fmla="*/ 12 h 781"/>
                <a:gd name="T6" fmla="*/ 564 w 677"/>
                <a:gd name="T7" fmla="*/ 4 h 781"/>
                <a:gd name="T8" fmla="*/ 348 w 677"/>
                <a:gd name="T9" fmla="*/ 158 h 781"/>
                <a:gd name="T10" fmla="*/ 348 w 677"/>
                <a:gd name="T11" fmla="*/ 0 h 781"/>
                <a:gd name="T12" fmla="*/ 331 w 677"/>
                <a:gd name="T13" fmla="*/ 0 h 781"/>
                <a:gd name="T14" fmla="*/ 0 w 677"/>
                <a:gd name="T15" fmla="*/ 54 h 781"/>
                <a:gd name="T16" fmla="*/ 0 w 677"/>
                <a:gd name="T17" fmla="*/ 112 h 781"/>
                <a:gd name="T18" fmla="*/ 12 w 677"/>
                <a:gd name="T19" fmla="*/ 112 h 781"/>
                <a:gd name="T20" fmla="*/ 141 w 677"/>
                <a:gd name="T21" fmla="*/ 236 h 781"/>
                <a:gd name="T22" fmla="*/ 141 w 677"/>
                <a:gd name="T23" fmla="*/ 780 h 781"/>
                <a:gd name="T24" fmla="*/ 348 w 677"/>
                <a:gd name="T25" fmla="*/ 780 h 781"/>
                <a:gd name="T26" fmla="*/ 348 w 677"/>
                <a:gd name="T27" fmla="*/ 390 h 781"/>
                <a:gd name="T28" fmla="*/ 568 w 677"/>
                <a:gd name="T29" fmla="*/ 170 h 781"/>
                <a:gd name="T30" fmla="*/ 643 w 677"/>
                <a:gd name="T31" fmla="*/ 183 h 781"/>
                <a:gd name="T32" fmla="*/ 676 w 677"/>
                <a:gd name="T33" fmla="*/ 191 h 781"/>
                <a:gd name="T34" fmla="*/ 676 w 677"/>
                <a:gd name="T35" fmla="*/ 174 h 7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77" h="781">
                  <a:moveTo>
                    <a:pt x="676" y="174"/>
                  </a:moveTo>
                  <a:lnTo>
                    <a:pt x="676" y="12"/>
                  </a:lnTo>
                  <a:lnTo>
                    <a:pt x="663" y="12"/>
                  </a:lnTo>
                  <a:cubicBezTo>
                    <a:pt x="630" y="8"/>
                    <a:pt x="593" y="4"/>
                    <a:pt x="564" y="4"/>
                  </a:cubicBezTo>
                  <a:cubicBezTo>
                    <a:pt x="443" y="4"/>
                    <a:pt x="381" y="91"/>
                    <a:pt x="348" y="158"/>
                  </a:cubicBezTo>
                  <a:cubicBezTo>
                    <a:pt x="348" y="95"/>
                    <a:pt x="348" y="0"/>
                    <a:pt x="348" y="0"/>
                  </a:cubicBezTo>
                  <a:lnTo>
                    <a:pt x="331" y="0"/>
                  </a:lnTo>
                  <a:lnTo>
                    <a:pt x="0" y="54"/>
                  </a:lnTo>
                  <a:lnTo>
                    <a:pt x="0" y="112"/>
                  </a:lnTo>
                  <a:lnTo>
                    <a:pt x="12" y="112"/>
                  </a:lnTo>
                  <a:cubicBezTo>
                    <a:pt x="116" y="116"/>
                    <a:pt x="141" y="137"/>
                    <a:pt x="141" y="236"/>
                  </a:cubicBezTo>
                  <a:lnTo>
                    <a:pt x="141" y="780"/>
                  </a:lnTo>
                  <a:lnTo>
                    <a:pt x="348" y="780"/>
                  </a:lnTo>
                  <a:lnTo>
                    <a:pt x="348" y="390"/>
                  </a:lnTo>
                  <a:cubicBezTo>
                    <a:pt x="348" y="324"/>
                    <a:pt x="369" y="170"/>
                    <a:pt x="568" y="170"/>
                  </a:cubicBezTo>
                  <a:cubicBezTo>
                    <a:pt x="593" y="170"/>
                    <a:pt x="618" y="178"/>
                    <a:pt x="643" y="183"/>
                  </a:cubicBezTo>
                  <a:lnTo>
                    <a:pt x="676" y="191"/>
                  </a:lnTo>
                  <a:lnTo>
                    <a:pt x="676" y="174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5" name="Freeform 15">
              <a:extLst>
                <a:ext uri="{FF2B5EF4-FFF2-40B4-BE49-F238E27FC236}">
                  <a16:creationId xmlns:a16="http://schemas.microsoft.com/office/drawing/2014/main" id="{FB034B85-19C8-4E2F-9C3C-400A5090EC5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86275" y="4200525"/>
              <a:ext cx="266700" cy="287338"/>
            </a:xfrm>
            <a:custGeom>
              <a:avLst/>
              <a:gdLst>
                <a:gd name="T0" fmla="*/ 738 w 743"/>
                <a:gd name="T1" fmla="*/ 315 h 797"/>
                <a:gd name="T2" fmla="*/ 390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738 w 743"/>
                <a:gd name="T25" fmla="*/ 315 h 797"/>
                <a:gd name="T26" fmla="*/ 386 w 743"/>
                <a:gd name="T27" fmla="*/ 83 h 797"/>
                <a:gd name="T28" fmla="*/ 531 w 743"/>
                <a:gd name="T29" fmla="*/ 236 h 797"/>
                <a:gd name="T30" fmla="*/ 228 w 743"/>
                <a:gd name="T31" fmla="*/ 236 h 797"/>
                <a:gd name="T32" fmla="*/ 386 w 743"/>
                <a:gd name="T33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43" h="797">
                  <a:moveTo>
                    <a:pt x="738" y="315"/>
                  </a:moveTo>
                  <a:cubicBezTo>
                    <a:pt x="738" y="104"/>
                    <a:pt x="622" y="0"/>
                    <a:pt x="390" y="0"/>
                  </a:cubicBezTo>
                  <a:cubicBezTo>
                    <a:pt x="128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lnTo>
                    <a:pt x="738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2" y="183"/>
                    <a:pt x="269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6" name="Freeform 16">
              <a:extLst>
                <a:ext uri="{FF2B5EF4-FFF2-40B4-BE49-F238E27FC236}">
                  <a16:creationId xmlns:a16="http://schemas.microsoft.com/office/drawing/2014/main" id="{75A030DC-6A52-40A0-9DA5-44816814E3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10175" y="4071938"/>
              <a:ext cx="314325" cy="409575"/>
            </a:xfrm>
            <a:custGeom>
              <a:avLst/>
              <a:gdLst>
                <a:gd name="T0" fmla="*/ 634 w 872"/>
                <a:gd name="T1" fmla="*/ 357 h 1138"/>
                <a:gd name="T2" fmla="*/ 348 w 872"/>
                <a:gd name="T3" fmla="*/ 523 h 1138"/>
                <a:gd name="T4" fmla="*/ 348 w 872"/>
                <a:gd name="T5" fmla="*/ 0 h 1138"/>
                <a:gd name="T6" fmla="*/ 332 w 872"/>
                <a:gd name="T7" fmla="*/ 4 h 1138"/>
                <a:gd name="T8" fmla="*/ 0 w 872"/>
                <a:gd name="T9" fmla="*/ 46 h 1138"/>
                <a:gd name="T10" fmla="*/ 0 w 872"/>
                <a:gd name="T11" fmla="*/ 104 h 1138"/>
                <a:gd name="T12" fmla="*/ 16 w 872"/>
                <a:gd name="T13" fmla="*/ 104 h 1138"/>
                <a:gd name="T14" fmla="*/ 141 w 872"/>
                <a:gd name="T15" fmla="*/ 233 h 1138"/>
                <a:gd name="T16" fmla="*/ 141 w 872"/>
                <a:gd name="T17" fmla="*/ 1137 h 1138"/>
                <a:gd name="T18" fmla="*/ 348 w 872"/>
                <a:gd name="T19" fmla="*/ 1137 h 1138"/>
                <a:gd name="T20" fmla="*/ 348 w 872"/>
                <a:gd name="T21" fmla="*/ 747 h 1138"/>
                <a:gd name="T22" fmla="*/ 547 w 872"/>
                <a:gd name="T23" fmla="*/ 494 h 1138"/>
                <a:gd name="T24" fmla="*/ 663 w 872"/>
                <a:gd name="T25" fmla="*/ 660 h 1138"/>
                <a:gd name="T26" fmla="*/ 663 w 872"/>
                <a:gd name="T27" fmla="*/ 1137 h 1138"/>
                <a:gd name="T28" fmla="*/ 871 w 872"/>
                <a:gd name="T29" fmla="*/ 1137 h 1138"/>
                <a:gd name="T30" fmla="*/ 871 w 872"/>
                <a:gd name="T31" fmla="*/ 635 h 1138"/>
                <a:gd name="T32" fmla="*/ 634 w 872"/>
                <a:gd name="T33" fmla="*/ 357 h 1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2" h="1138">
                  <a:moveTo>
                    <a:pt x="634" y="357"/>
                  </a:moveTo>
                  <a:cubicBezTo>
                    <a:pt x="481" y="357"/>
                    <a:pt x="394" y="452"/>
                    <a:pt x="348" y="523"/>
                  </a:cubicBezTo>
                  <a:cubicBezTo>
                    <a:pt x="348" y="440"/>
                    <a:pt x="348" y="0"/>
                    <a:pt x="348" y="0"/>
                  </a:cubicBezTo>
                  <a:lnTo>
                    <a:pt x="332" y="4"/>
                  </a:lnTo>
                  <a:lnTo>
                    <a:pt x="0" y="46"/>
                  </a:lnTo>
                  <a:lnTo>
                    <a:pt x="0" y="104"/>
                  </a:lnTo>
                  <a:lnTo>
                    <a:pt x="16" y="104"/>
                  </a:lnTo>
                  <a:cubicBezTo>
                    <a:pt x="120" y="108"/>
                    <a:pt x="141" y="133"/>
                    <a:pt x="141" y="233"/>
                  </a:cubicBezTo>
                  <a:lnTo>
                    <a:pt x="141" y="1137"/>
                  </a:lnTo>
                  <a:lnTo>
                    <a:pt x="348" y="1137"/>
                  </a:lnTo>
                  <a:lnTo>
                    <a:pt x="348" y="747"/>
                  </a:lnTo>
                  <a:cubicBezTo>
                    <a:pt x="348" y="606"/>
                    <a:pt x="456" y="494"/>
                    <a:pt x="547" y="494"/>
                  </a:cubicBezTo>
                  <a:cubicBezTo>
                    <a:pt x="663" y="494"/>
                    <a:pt x="663" y="581"/>
                    <a:pt x="663" y="660"/>
                  </a:cubicBezTo>
                  <a:lnTo>
                    <a:pt x="663" y="1137"/>
                  </a:lnTo>
                  <a:lnTo>
                    <a:pt x="871" y="1137"/>
                  </a:lnTo>
                  <a:lnTo>
                    <a:pt x="871" y="635"/>
                  </a:lnTo>
                  <a:cubicBezTo>
                    <a:pt x="871" y="552"/>
                    <a:pt x="871" y="357"/>
                    <a:pt x="634" y="357"/>
                  </a:cubicBez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7" name="Freeform 17">
              <a:extLst>
                <a:ext uri="{FF2B5EF4-FFF2-40B4-BE49-F238E27FC236}">
                  <a16:creationId xmlns:a16="http://schemas.microsoft.com/office/drawing/2014/main" id="{793705D1-6112-44F6-B22B-3FB6B1C9CF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94350" y="4200525"/>
              <a:ext cx="266700" cy="287338"/>
            </a:xfrm>
            <a:custGeom>
              <a:avLst/>
              <a:gdLst>
                <a:gd name="T0" fmla="*/ 742 w 743"/>
                <a:gd name="T1" fmla="*/ 315 h 797"/>
                <a:gd name="T2" fmla="*/ 394 w 743"/>
                <a:gd name="T3" fmla="*/ 0 h 797"/>
                <a:gd name="T4" fmla="*/ 0 w 743"/>
                <a:gd name="T5" fmla="*/ 373 h 797"/>
                <a:gd name="T6" fmla="*/ 456 w 743"/>
                <a:gd name="T7" fmla="*/ 796 h 797"/>
                <a:gd name="T8" fmla="*/ 713 w 743"/>
                <a:gd name="T9" fmla="*/ 755 h 797"/>
                <a:gd name="T10" fmla="*/ 726 w 743"/>
                <a:gd name="T11" fmla="*/ 751 h 797"/>
                <a:gd name="T12" fmla="*/ 726 w 743"/>
                <a:gd name="T13" fmla="*/ 651 h 797"/>
                <a:gd name="T14" fmla="*/ 705 w 743"/>
                <a:gd name="T15" fmla="*/ 660 h 797"/>
                <a:gd name="T16" fmla="*/ 543 w 743"/>
                <a:gd name="T17" fmla="*/ 684 h 797"/>
                <a:gd name="T18" fmla="*/ 232 w 743"/>
                <a:gd name="T19" fmla="*/ 332 h 797"/>
                <a:gd name="T20" fmla="*/ 742 w 743"/>
                <a:gd name="T21" fmla="*/ 332 h 797"/>
                <a:gd name="T22" fmla="*/ 742 w 743"/>
                <a:gd name="T23" fmla="*/ 315 h 797"/>
                <a:gd name="T24" fmla="*/ 386 w 743"/>
                <a:gd name="T25" fmla="*/ 83 h 797"/>
                <a:gd name="T26" fmla="*/ 531 w 743"/>
                <a:gd name="T27" fmla="*/ 236 h 797"/>
                <a:gd name="T28" fmla="*/ 228 w 743"/>
                <a:gd name="T29" fmla="*/ 236 h 797"/>
                <a:gd name="T30" fmla="*/ 386 w 743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3" h="797">
                  <a:moveTo>
                    <a:pt x="742" y="315"/>
                  </a:moveTo>
                  <a:cubicBezTo>
                    <a:pt x="742" y="104"/>
                    <a:pt x="626" y="0"/>
                    <a:pt x="394" y="0"/>
                  </a:cubicBezTo>
                  <a:cubicBezTo>
                    <a:pt x="133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3"/>
                    <a:pt x="713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43" y="684"/>
                  </a:cubicBezTo>
                  <a:cubicBezTo>
                    <a:pt x="319" y="684"/>
                    <a:pt x="236" y="498"/>
                    <a:pt x="232" y="332"/>
                  </a:cubicBezTo>
                  <a:cubicBezTo>
                    <a:pt x="261" y="332"/>
                    <a:pt x="742" y="332"/>
                    <a:pt x="742" y="332"/>
                  </a:cubicBezTo>
                  <a:lnTo>
                    <a:pt x="742" y="315"/>
                  </a:lnTo>
                  <a:close/>
                  <a:moveTo>
                    <a:pt x="386" y="83"/>
                  </a:moveTo>
                  <a:cubicBezTo>
                    <a:pt x="498" y="83"/>
                    <a:pt x="527" y="166"/>
                    <a:pt x="531" y="236"/>
                  </a:cubicBezTo>
                  <a:cubicBezTo>
                    <a:pt x="506" y="236"/>
                    <a:pt x="257" y="236"/>
                    <a:pt x="228" y="236"/>
                  </a:cubicBezTo>
                  <a:cubicBezTo>
                    <a:pt x="236" y="183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8" name="Freeform 18">
              <a:extLst>
                <a:ext uri="{FF2B5EF4-FFF2-40B4-BE49-F238E27FC236}">
                  <a16:creationId xmlns:a16="http://schemas.microsoft.com/office/drawing/2014/main" id="{8FF59776-856D-45AC-B509-8618A1ECDBA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64113" y="4121150"/>
              <a:ext cx="212725" cy="366713"/>
            </a:xfrm>
            <a:custGeom>
              <a:avLst/>
              <a:gdLst>
                <a:gd name="T0" fmla="*/ 141 w 589"/>
                <a:gd name="T1" fmla="*/ 237 h 1017"/>
                <a:gd name="T2" fmla="*/ 0 w 589"/>
                <a:gd name="T3" fmla="*/ 237 h 1017"/>
                <a:gd name="T4" fmla="*/ 0 w 589"/>
                <a:gd name="T5" fmla="*/ 328 h 1017"/>
                <a:gd name="T6" fmla="*/ 141 w 589"/>
                <a:gd name="T7" fmla="*/ 328 h 1017"/>
                <a:gd name="T8" fmla="*/ 141 w 589"/>
                <a:gd name="T9" fmla="*/ 797 h 1017"/>
                <a:gd name="T10" fmla="*/ 427 w 589"/>
                <a:gd name="T11" fmla="*/ 1016 h 1017"/>
                <a:gd name="T12" fmla="*/ 551 w 589"/>
                <a:gd name="T13" fmla="*/ 1004 h 1017"/>
                <a:gd name="T14" fmla="*/ 564 w 589"/>
                <a:gd name="T15" fmla="*/ 1004 h 1017"/>
                <a:gd name="T16" fmla="*/ 564 w 589"/>
                <a:gd name="T17" fmla="*/ 909 h 1017"/>
                <a:gd name="T18" fmla="*/ 547 w 589"/>
                <a:gd name="T19" fmla="*/ 913 h 1017"/>
                <a:gd name="T20" fmla="*/ 485 w 589"/>
                <a:gd name="T21" fmla="*/ 917 h 1017"/>
                <a:gd name="T22" fmla="*/ 352 w 589"/>
                <a:gd name="T23" fmla="*/ 772 h 1017"/>
                <a:gd name="T24" fmla="*/ 352 w 589"/>
                <a:gd name="T25" fmla="*/ 328 h 1017"/>
                <a:gd name="T26" fmla="*/ 588 w 589"/>
                <a:gd name="T27" fmla="*/ 328 h 1017"/>
                <a:gd name="T28" fmla="*/ 588 w 589"/>
                <a:gd name="T29" fmla="*/ 237 h 1017"/>
                <a:gd name="T30" fmla="*/ 352 w 589"/>
                <a:gd name="T31" fmla="*/ 237 h 1017"/>
                <a:gd name="T32" fmla="*/ 352 w 589"/>
                <a:gd name="T33" fmla="*/ 0 h 1017"/>
                <a:gd name="T34" fmla="*/ 141 w 589"/>
                <a:gd name="T35" fmla="*/ 0 h 1017"/>
                <a:gd name="T36" fmla="*/ 141 w 589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9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70" y="1016"/>
                    <a:pt x="427" y="1016"/>
                  </a:cubicBezTo>
                  <a:cubicBezTo>
                    <a:pt x="464" y="1016"/>
                    <a:pt x="505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0" y="917"/>
                    <a:pt x="510" y="917"/>
                    <a:pt x="485" y="917"/>
                  </a:cubicBezTo>
                  <a:cubicBezTo>
                    <a:pt x="360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8" y="328"/>
                  </a:lnTo>
                  <a:lnTo>
                    <a:pt x="588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9" name="Freeform 19">
              <a:extLst>
                <a:ext uri="{FF2B5EF4-FFF2-40B4-BE49-F238E27FC236}">
                  <a16:creationId xmlns:a16="http://schemas.microsoft.com/office/drawing/2014/main" id="{ABE65823-82D2-4833-BF8A-1A43397177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049963" y="4087813"/>
              <a:ext cx="450850" cy="395287"/>
            </a:xfrm>
            <a:custGeom>
              <a:avLst/>
              <a:gdLst>
                <a:gd name="T0" fmla="*/ 1245 w 1254"/>
                <a:gd name="T1" fmla="*/ 0 h 1096"/>
                <a:gd name="T2" fmla="*/ 1033 w 1254"/>
                <a:gd name="T3" fmla="*/ 0 h 1096"/>
                <a:gd name="T4" fmla="*/ 1033 w 1254"/>
                <a:gd name="T5" fmla="*/ 829 h 1096"/>
                <a:gd name="T6" fmla="*/ 485 w 1254"/>
                <a:gd name="T7" fmla="*/ 0 h 1096"/>
                <a:gd name="T8" fmla="*/ 0 w 1254"/>
                <a:gd name="T9" fmla="*/ 0 h 1096"/>
                <a:gd name="T10" fmla="*/ 0 w 1254"/>
                <a:gd name="T11" fmla="*/ 62 h 1096"/>
                <a:gd name="T12" fmla="*/ 42 w 1254"/>
                <a:gd name="T13" fmla="*/ 70 h 1096"/>
                <a:gd name="T14" fmla="*/ 178 w 1254"/>
                <a:gd name="T15" fmla="*/ 220 h 1096"/>
                <a:gd name="T16" fmla="*/ 178 w 1254"/>
                <a:gd name="T17" fmla="*/ 1095 h 1096"/>
                <a:gd name="T18" fmla="*/ 403 w 1254"/>
                <a:gd name="T19" fmla="*/ 1095 h 1096"/>
                <a:gd name="T20" fmla="*/ 403 w 1254"/>
                <a:gd name="T21" fmla="*/ 228 h 1096"/>
                <a:gd name="T22" fmla="*/ 975 w 1254"/>
                <a:gd name="T23" fmla="*/ 1095 h 1096"/>
                <a:gd name="T24" fmla="*/ 1253 w 1254"/>
                <a:gd name="T25" fmla="*/ 1095 h 1096"/>
                <a:gd name="T26" fmla="*/ 1253 w 1254"/>
                <a:gd name="T27" fmla="*/ 0 h 1096"/>
                <a:gd name="T28" fmla="*/ 1245 w 1254"/>
                <a:gd name="T29" fmla="*/ 0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4" h="1096">
                  <a:moveTo>
                    <a:pt x="1245" y="0"/>
                  </a:moveTo>
                  <a:lnTo>
                    <a:pt x="1033" y="0"/>
                  </a:lnTo>
                  <a:cubicBezTo>
                    <a:pt x="1033" y="0"/>
                    <a:pt x="1033" y="751"/>
                    <a:pt x="1033" y="829"/>
                  </a:cubicBezTo>
                  <a:cubicBezTo>
                    <a:pt x="992" y="763"/>
                    <a:pt x="485" y="0"/>
                    <a:pt x="485" y="0"/>
                  </a:cubicBezTo>
                  <a:lnTo>
                    <a:pt x="0" y="0"/>
                  </a:lnTo>
                  <a:lnTo>
                    <a:pt x="0" y="62"/>
                  </a:lnTo>
                  <a:lnTo>
                    <a:pt x="42" y="70"/>
                  </a:lnTo>
                  <a:cubicBezTo>
                    <a:pt x="170" y="91"/>
                    <a:pt x="178" y="95"/>
                    <a:pt x="178" y="220"/>
                  </a:cubicBezTo>
                  <a:lnTo>
                    <a:pt x="178" y="1095"/>
                  </a:lnTo>
                  <a:lnTo>
                    <a:pt x="403" y="1095"/>
                  </a:lnTo>
                  <a:cubicBezTo>
                    <a:pt x="403" y="1095"/>
                    <a:pt x="403" y="307"/>
                    <a:pt x="403" y="228"/>
                  </a:cubicBezTo>
                  <a:cubicBezTo>
                    <a:pt x="448" y="294"/>
                    <a:pt x="975" y="1095"/>
                    <a:pt x="975" y="1095"/>
                  </a:cubicBezTo>
                  <a:lnTo>
                    <a:pt x="1253" y="1095"/>
                  </a:lnTo>
                  <a:lnTo>
                    <a:pt x="1253" y="0"/>
                  </a:lnTo>
                  <a:lnTo>
                    <a:pt x="1245" y="0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0" name="Freeform 20">
              <a:extLst>
                <a:ext uri="{FF2B5EF4-FFF2-40B4-BE49-F238E27FC236}">
                  <a16:creationId xmlns:a16="http://schemas.microsoft.com/office/drawing/2014/main" id="{9EFCCE75-AE81-4457-8831-6014E85A5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73838" y="4200525"/>
              <a:ext cx="266700" cy="287338"/>
            </a:xfrm>
            <a:custGeom>
              <a:avLst/>
              <a:gdLst>
                <a:gd name="T0" fmla="*/ 390 w 740"/>
                <a:gd name="T1" fmla="*/ 0 h 797"/>
                <a:gd name="T2" fmla="*/ 0 w 740"/>
                <a:gd name="T3" fmla="*/ 373 h 797"/>
                <a:gd name="T4" fmla="*/ 456 w 740"/>
                <a:gd name="T5" fmla="*/ 796 h 797"/>
                <a:gd name="T6" fmla="*/ 714 w 740"/>
                <a:gd name="T7" fmla="*/ 755 h 797"/>
                <a:gd name="T8" fmla="*/ 726 w 740"/>
                <a:gd name="T9" fmla="*/ 751 h 797"/>
                <a:gd name="T10" fmla="*/ 726 w 740"/>
                <a:gd name="T11" fmla="*/ 651 h 797"/>
                <a:gd name="T12" fmla="*/ 705 w 740"/>
                <a:gd name="T13" fmla="*/ 660 h 797"/>
                <a:gd name="T14" fmla="*/ 539 w 740"/>
                <a:gd name="T15" fmla="*/ 684 h 797"/>
                <a:gd name="T16" fmla="*/ 228 w 740"/>
                <a:gd name="T17" fmla="*/ 332 h 797"/>
                <a:gd name="T18" fmla="*/ 739 w 740"/>
                <a:gd name="T19" fmla="*/ 332 h 797"/>
                <a:gd name="T20" fmla="*/ 739 w 740"/>
                <a:gd name="T21" fmla="*/ 315 h 797"/>
                <a:gd name="T22" fmla="*/ 390 w 740"/>
                <a:gd name="T23" fmla="*/ 0 h 797"/>
                <a:gd name="T24" fmla="*/ 386 w 740"/>
                <a:gd name="T25" fmla="*/ 83 h 797"/>
                <a:gd name="T26" fmla="*/ 531 w 740"/>
                <a:gd name="T27" fmla="*/ 236 h 797"/>
                <a:gd name="T28" fmla="*/ 228 w 740"/>
                <a:gd name="T29" fmla="*/ 236 h 797"/>
                <a:gd name="T30" fmla="*/ 386 w 740"/>
                <a:gd name="T31" fmla="*/ 83 h 7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740" h="797">
                  <a:moveTo>
                    <a:pt x="390" y="0"/>
                  </a:moveTo>
                  <a:cubicBezTo>
                    <a:pt x="129" y="0"/>
                    <a:pt x="0" y="124"/>
                    <a:pt x="0" y="373"/>
                  </a:cubicBezTo>
                  <a:cubicBezTo>
                    <a:pt x="0" y="639"/>
                    <a:pt x="170" y="796"/>
                    <a:pt x="456" y="796"/>
                  </a:cubicBezTo>
                  <a:cubicBezTo>
                    <a:pt x="581" y="796"/>
                    <a:pt x="676" y="767"/>
                    <a:pt x="714" y="755"/>
                  </a:cubicBezTo>
                  <a:lnTo>
                    <a:pt x="726" y="751"/>
                  </a:lnTo>
                  <a:lnTo>
                    <a:pt x="726" y="651"/>
                  </a:lnTo>
                  <a:lnTo>
                    <a:pt x="705" y="660"/>
                  </a:lnTo>
                  <a:cubicBezTo>
                    <a:pt x="672" y="672"/>
                    <a:pt x="610" y="684"/>
                    <a:pt x="539" y="684"/>
                  </a:cubicBezTo>
                  <a:cubicBezTo>
                    <a:pt x="315" y="684"/>
                    <a:pt x="232" y="498"/>
                    <a:pt x="228" y="332"/>
                  </a:cubicBezTo>
                  <a:lnTo>
                    <a:pt x="739" y="332"/>
                  </a:lnTo>
                  <a:lnTo>
                    <a:pt x="739" y="315"/>
                  </a:lnTo>
                  <a:cubicBezTo>
                    <a:pt x="739" y="104"/>
                    <a:pt x="622" y="0"/>
                    <a:pt x="390" y="0"/>
                  </a:cubicBezTo>
                  <a:close/>
                  <a:moveTo>
                    <a:pt x="386" y="83"/>
                  </a:moveTo>
                  <a:cubicBezTo>
                    <a:pt x="498" y="83"/>
                    <a:pt x="527" y="162"/>
                    <a:pt x="531" y="236"/>
                  </a:cubicBezTo>
                  <a:lnTo>
                    <a:pt x="228" y="236"/>
                  </a:lnTo>
                  <a:cubicBezTo>
                    <a:pt x="232" y="187"/>
                    <a:pt x="270" y="83"/>
                    <a:pt x="386" y="83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1" name="Freeform 21">
              <a:extLst>
                <a:ext uri="{FF2B5EF4-FFF2-40B4-BE49-F238E27FC236}">
                  <a16:creationId xmlns:a16="http://schemas.microsoft.com/office/drawing/2014/main" id="{D07F9CEB-68BC-4BB1-AA8C-B4E6FA8161B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04075" y="4121150"/>
              <a:ext cx="212725" cy="366713"/>
            </a:xfrm>
            <a:custGeom>
              <a:avLst/>
              <a:gdLst>
                <a:gd name="T0" fmla="*/ 141 w 590"/>
                <a:gd name="T1" fmla="*/ 237 h 1017"/>
                <a:gd name="T2" fmla="*/ 0 w 590"/>
                <a:gd name="T3" fmla="*/ 237 h 1017"/>
                <a:gd name="T4" fmla="*/ 0 w 590"/>
                <a:gd name="T5" fmla="*/ 328 h 1017"/>
                <a:gd name="T6" fmla="*/ 141 w 590"/>
                <a:gd name="T7" fmla="*/ 328 h 1017"/>
                <a:gd name="T8" fmla="*/ 141 w 590"/>
                <a:gd name="T9" fmla="*/ 797 h 1017"/>
                <a:gd name="T10" fmla="*/ 427 w 590"/>
                <a:gd name="T11" fmla="*/ 1016 h 1017"/>
                <a:gd name="T12" fmla="*/ 551 w 590"/>
                <a:gd name="T13" fmla="*/ 1004 h 1017"/>
                <a:gd name="T14" fmla="*/ 564 w 590"/>
                <a:gd name="T15" fmla="*/ 1004 h 1017"/>
                <a:gd name="T16" fmla="*/ 564 w 590"/>
                <a:gd name="T17" fmla="*/ 909 h 1017"/>
                <a:gd name="T18" fmla="*/ 547 w 590"/>
                <a:gd name="T19" fmla="*/ 913 h 1017"/>
                <a:gd name="T20" fmla="*/ 485 w 590"/>
                <a:gd name="T21" fmla="*/ 917 h 1017"/>
                <a:gd name="T22" fmla="*/ 352 w 590"/>
                <a:gd name="T23" fmla="*/ 772 h 1017"/>
                <a:gd name="T24" fmla="*/ 352 w 590"/>
                <a:gd name="T25" fmla="*/ 328 h 1017"/>
                <a:gd name="T26" fmla="*/ 589 w 590"/>
                <a:gd name="T27" fmla="*/ 328 h 1017"/>
                <a:gd name="T28" fmla="*/ 589 w 590"/>
                <a:gd name="T29" fmla="*/ 237 h 1017"/>
                <a:gd name="T30" fmla="*/ 352 w 590"/>
                <a:gd name="T31" fmla="*/ 237 h 1017"/>
                <a:gd name="T32" fmla="*/ 352 w 590"/>
                <a:gd name="T33" fmla="*/ 0 h 1017"/>
                <a:gd name="T34" fmla="*/ 141 w 590"/>
                <a:gd name="T35" fmla="*/ 0 h 1017"/>
                <a:gd name="T36" fmla="*/ 141 w 590"/>
                <a:gd name="T37" fmla="*/ 237 h 10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90" h="1017">
                  <a:moveTo>
                    <a:pt x="141" y="237"/>
                  </a:moveTo>
                  <a:lnTo>
                    <a:pt x="0" y="237"/>
                  </a:lnTo>
                  <a:lnTo>
                    <a:pt x="0" y="328"/>
                  </a:lnTo>
                  <a:lnTo>
                    <a:pt x="141" y="328"/>
                  </a:lnTo>
                  <a:lnTo>
                    <a:pt x="141" y="797"/>
                  </a:lnTo>
                  <a:cubicBezTo>
                    <a:pt x="141" y="1000"/>
                    <a:pt x="269" y="1016"/>
                    <a:pt x="427" y="1016"/>
                  </a:cubicBezTo>
                  <a:cubicBezTo>
                    <a:pt x="464" y="1016"/>
                    <a:pt x="506" y="1012"/>
                    <a:pt x="551" y="1004"/>
                  </a:cubicBezTo>
                  <a:lnTo>
                    <a:pt x="564" y="1004"/>
                  </a:lnTo>
                  <a:lnTo>
                    <a:pt x="564" y="909"/>
                  </a:lnTo>
                  <a:lnTo>
                    <a:pt x="547" y="913"/>
                  </a:lnTo>
                  <a:cubicBezTo>
                    <a:pt x="531" y="917"/>
                    <a:pt x="510" y="917"/>
                    <a:pt x="485" y="917"/>
                  </a:cubicBezTo>
                  <a:cubicBezTo>
                    <a:pt x="361" y="917"/>
                    <a:pt x="352" y="880"/>
                    <a:pt x="352" y="772"/>
                  </a:cubicBezTo>
                  <a:lnTo>
                    <a:pt x="352" y="328"/>
                  </a:lnTo>
                  <a:lnTo>
                    <a:pt x="589" y="328"/>
                  </a:lnTo>
                  <a:lnTo>
                    <a:pt x="589" y="237"/>
                  </a:lnTo>
                  <a:lnTo>
                    <a:pt x="352" y="237"/>
                  </a:lnTo>
                  <a:lnTo>
                    <a:pt x="352" y="0"/>
                  </a:lnTo>
                  <a:lnTo>
                    <a:pt x="141" y="0"/>
                  </a:lnTo>
                  <a:lnTo>
                    <a:pt x="141" y="237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2" name="Freeform 22">
              <a:extLst>
                <a:ext uri="{FF2B5EF4-FFF2-40B4-BE49-F238E27FC236}">
                  <a16:creationId xmlns:a16="http://schemas.microsoft.com/office/drawing/2014/main" id="{7D135125-3062-482D-A59C-1AE7FC9B3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0063" y="4206875"/>
              <a:ext cx="331787" cy="274638"/>
            </a:xfrm>
            <a:custGeom>
              <a:avLst/>
              <a:gdLst>
                <a:gd name="T0" fmla="*/ 705 w 921"/>
                <a:gd name="T1" fmla="*/ 248 h 764"/>
                <a:gd name="T2" fmla="*/ 920 w 921"/>
                <a:gd name="T3" fmla="*/ 0 h 764"/>
                <a:gd name="T4" fmla="*/ 701 w 921"/>
                <a:gd name="T5" fmla="*/ 0 h 764"/>
                <a:gd name="T6" fmla="*/ 497 w 921"/>
                <a:gd name="T7" fmla="*/ 236 h 764"/>
                <a:gd name="T8" fmla="*/ 319 w 921"/>
                <a:gd name="T9" fmla="*/ 0 h 764"/>
                <a:gd name="T10" fmla="*/ 0 w 921"/>
                <a:gd name="T11" fmla="*/ 0 h 764"/>
                <a:gd name="T12" fmla="*/ 0 w 921"/>
                <a:gd name="T13" fmla="*/ 62 h 764"/>
                <a:gd name="T14" fmla="*/ 12 w 921"/>
                <a:gd name="T15" fmla="*/ 62 h 764"/>
                <a:gd name="T16" fmla="*/ 211 w 921"/>
                <a:gd name="T17" fmla="*/ 178 h 764"/>
                <a:gd name="T18" fmla="*/ 344 w 921"/>
                <a:gd name="T19" fmla="*/ 352 h 764"/>
                <a:gd name="T20" fmla="*/ 128 w 921"/>
                <a:gd name="T21" fmla="*/ 601 h 764"/>
                <a:gd name="T22" fmla="*/ 348 w 921"/>
                <a:gd name="T23" fmla="*/ 601 h 764"/>
                <a:gd name="T24" fmla="*/ 443 w 921"/>
                <a:gd name="T25" fmla="*/ 489 h 764"/>
                <a:gd name="T26" fmla="*/ 651 w 921"/>
                <a:gd name="T27" fmla="*/ 763 h 764"/>
                <a:gd name="T28" fmla="*/ 900 w 921"/>
                <a:gd name="T29" fmla="*/ 763 h 764"/>
                <a:gd name="T30" fmla="*/ 506 w 921"/>
                <a:gd name="T31" fmla="*/ 248 h 764"/>
                <a:gd name="T32" fmla="*/ 705 w 921"/>
                <a:gd name="T33" fmla="*/ 248 h 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1" h="764">
                  <a:moveTo>
                    <a:pt x="705" y="248"/>
                  </a:moveTo>
                  <a:lnTo>
                    <a:pt x="920" y="0"/>
                  </a:lnTo>
                  <a:lnTo>
                    <a:pt x="701" y="0"/>
                  </a:lnTo>
                  <a:lnTo>
                    <a:pt x="497" y="236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62"/>
                  </a:lnTo>
                  <a:lnTo>
                    <a:pt x="12" y="62"/>
                  </a:lnTo>
                  <a:cubicBezTo>
                    <a:pt x="120" y="70"/>
                    <a:pt x="145" y="87"/>
                    <a:pt x="211" y="178"/>
                  </a:cubicBezTo>
                  <a:lnTo>
                    <a:pt x="344" y="352"/>
                  </a:lnTo>
                  <a:lnTo>
                    <a:pt x="128" y="601"/>
                  </a:lnTo>
                  <a:lnTo>
                    <a:pt x="348" y="601"/>
                  </a:lnTo>
                  <a:lnTo>
                    <a:pt x="443" y="489"/>
                  </a:lnTo>
                  <a:lnTo>
                    <a:pt x="651" y="763"/>
                  </a:lnTo>
                  <a:lnTo>
                    <a:pt x="900" y="763"/>
                  </a:lnTo>
                  <a:lnTo>
                    <a:pt x="506" y="248"/>
                  </a:lnTo>
                  <a:lnTo>
                    <a:pt x="705" y="248"/>
                  </a:lnTo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3" name="Freeform 23">
              <a:extLst>
                <a:ext uri="{FF2B5EF4-FFF2-40B4-BE49-F238E27FC236}">
                  <a16:creationId xmlns:a16="http://schemas.microsoft.com/office/drawing/2014/main" id="{5FB7C790-01A3-4905-BCEA-186F6B2C0A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75500" y="4010025"/>
              <a:ext cx="176213" cy="111125"/>
            </a:xfrm>
            <a:custGeom>
              <a:avLst/>
              <a:gdLst>
                <a:gd name="T0" fmla="*/ 224 w 490"/>
                <a:gd name="T1" fmla="*/ 307 h 308"/>
                <a:gd name="T2" fmla="*/ 0 w 490"/>
                <a:gd name="T3" fmla="*/ 307 h 308"/>
                <a:gd name="T4" fmla="*/ 269 w 490"/>
                <a:gd name="T5" fmla="*/ 0 h 308"/>
                <a:gd name="T6" fmla="*/ 489 w 490"/>
                <a:gd name="T7" fmla="*/ 0 h 308"/>
                <a:gd name="T8" fmla="*/ 224 w 490"/>
                <a:gd name="T9" fmla="*/ 30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90" h="308">
                  <a:moveTo>
                    <a:pt x="224" y="307"/>
                  </a:moveTo>
                  <a:lnTo>
                    <a:pt x="0" y="307"/>
                  </a:lnTo>
                  <a:lnTo>
                    <a:pt x="269" y="0"/>
                  </a:lnTo>
                  <a:lnTo>
                    <a:pt x="489" y="0"/>
                  </a:lnTo>
                  <a:lnTo>
                    <a:pt x="224" y="307"/>
                  </a:lnTo>
                </a:path>
              </a:pathLst>
            </a:custGeom>
            <a:solidFill>
              <a:srgbClr val="FF002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>
                <a:ln>
                  <a:noFill/>
                </a:ln>
                <a:solidFill>
                  <a:srgbClr val="414141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24" name="Subtitle 7">
            <a:extLst>
              <a:ext uri="{FF2B5EF4-FFF2-40B4-BE49-F238E27FC236}">
                <a16:creationId xmlns:a16="http://schemas.microsoft.com/office/drawing/2014/main" id="{43F9FD24-5CD0-4643-9CB1-410018D210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4711" y="310486"/>
            <a:ext cx="10868501" cy="815608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l"/>
            <a:r>
              <a:rPr lang="en-US" sz="2650" b="1" dirty="0">
                <a:solidFill>
                  <a:schemeClr val="bg1"/>
                </a:solidFill>
                <a:latin typeface="Arial"/>
                <a:cs typeface="Arial"/>
              </a:rPr>
              <a:t>Hitachi </a:t>
            </a:r>
            <a:r>
              <a:rPr lang="en-US" sz="2650" b="1" dirty="0" err="1">
                <a:solidFill>
                  <a:schemeClr val="bg1"/>
                </a:solidFill>
                <a:latin typeface="Arial"/>
                <a:cs typeface="Arial"/>
              </a:rPr>
              <a:t>ZeroCarbon</a:t>
            </a:r>
            <a:endParaRPr lang="en-US" sz="2667" b="1" dirty="0">
              <a:solidFill>
                <a:schemeClr val="bg1"/>
              </a:solidFill>
            </a:endParaRPr>
          </a:p>
          <a:p>
            <a:pPr algn="l"/>
            <a:r>
              <a:rPr lang="en-GB" sz="2100" dirty="0">
                <a:solidFill>
                  <a:schemeClr val="bg1">
                    <a:lumMod val="85000"/>
                  </a:schemeClr>
                </a:solidFill>
                <a:latin typeface="Arial"/>
                <a:cs typeface="Arial"/>
              </a:rPr>
              <a:t>New Collaborations for Zero Emission Transport</a:t>
            </a: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endParaRPr lang="en-GB" sz="1467" dirty="0">
              <a:solidFill>
                <a:prstClr val="white"/>
              </a:solidFill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467" dirty="0">
                <a:solidFill>
                  <a:prstClr val="white"/>
                </a:solidFill>
              </a:rPr>
              <a:t>February 2022</a:t>
            </a:r>
            <a:endParaRPr lang="en-US" sz="1200" dirty="0">
              <a:solidFill>
                <a:prstClr val="white"/>
              </a:solidFill>
            </a:endParaRPr>
          </a:p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endParaRPr lang="en-US" sz="1467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7" name="Text Placeholder 9">
            <a:extLst>
              <a:ext uri="{FF2B5EF4-FFF2-40B4-BE49-F238E27FC236}">
                <a16:creationId xmlns:a16="http://schemas.microsoft.com/office/drawing/2014/main" id="{52EAF8FF-06D1-4E39-B0F9-7044F565BC3D}"/>
              </a:ext>
            </a:extLst>
          </p:cNvPr>
          <p:cNvSpPr txBox="1">
            <a:spLocks/>
          </p:cNvSpPr>
          <p:nvPr/>
        </p:nvSpPr>
        <p:spPr>
          <a:xfrm>
            <a:off x="295963" y="1551547"/>
            <a:ext cx="11207870" cy="595163"/>
          </a:xfrm>
          <a:noFill/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152402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938C5FF-B22B-43E3-8761-D907ABB1566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152" y="1172183"/>
            <a:ext cx="5202400" cy="294587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929F084-F32F-4B5A-A5B0-59C8E628818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97533" y="5457137"/>
            <a:ext cx="3854623" cy="84505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2F4EEB6-DE0F-498A-862C-EA17FECCF4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1177" y="1973324"/>
            <a:ext cx="5275421" cy="150368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7FAB607-55CA-4553-A47F-C1C7C9660702}"/>
              </a:ext>
            </a:extLst>
          </p:cNvPr>
          <p:cNvSpPr txBox="1"/>
          <p:nvPr/>
        </p:nvSpPr>
        <p:spPr>
          <a:xfrm>
            <a:off x="214313" y="144423"/>
            <a:ext cx="91780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zh-TW" sz="2000" b="1" i="0" u="none" strike="noStrike" kern="1200" cap="none" spc="0" normalizeH="0" baseline="0" noProof="0" dirty="0">
                <a:ln>
                  <a:noFill/>
                </a:ln>
                <a:solidFill>
                  <a:srgbClr val="BABABA"/>
                </a:solidFill>
                <a:effectLst/>
                <a:uLnTx/>
                <a:uFillTx/>
                <a:latin typeface="Arial"/>
                <a:ea typeface="微軟正黑體" panose="020B0604030504040204" pitchFamily="34" charset="-120"/>
                <a:cs typeface="+mn-cs"/>
              </a:rPr>
              <a:t>HITACHI – A LEADING DRIVER IN </a:t>
            </a:r>
            <a:r>
              <a:rPr lang="en-GB" altLang="zh-TW" sz="2000" b="1" dirty="0">
                <a:solidFill>
                  <a:srgbClr val="BABABA"/>
                </a:solidFill>
                <a:latin typeface="Arial"/>
                <a:ea typeface="微軟正黑體" panose="020B0604030504040204" pitchFamily="34" charset="-120"/>
              </a:rPr>
              <a:t>ZERO CARBON SOLUTION DELIVERY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BABA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739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023B909-6FE6-44C6-8779-E3B5447EFCBD}"/>
              </a:ext>
            </a:extLst>
          </p:cNvPr>
          <p:cNvSpPr/>
          <p:nvPr/>
        </p:nvSpPr>
        <p:spPr>
          <a:xfrm>
            <a:off x="3770241" y="1787646"/>
            <a:ext cx="45719" cy="822960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C2CFCF5-9081-454A-958B-B7577578ACD5}"/>
              </a:ext>
            </a:extLst>
          </p:cNvPr>
          <p:cNvGrpSpPr/>
          <p:nvPr/>
        </p:nvGrpSpPr>
        <p:grpSpPr>
          <a:xfrm>
            <a:off x="2939074" y="4239238"/>
            <a:ext cx="1767812" cy="1661994"/>
            <a:chOff x="2590200" y="1766707"/>
            <a:chExt cx="1548359" cy="1661994"/>
          </a:xfrm>
        </p:grpSpPr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58A5843-F39C-42E8-986A-55AF4A37BE33}"/>
                </a:ext>
              </a:extLst>
            </p:cNvPr>
            <p:cNvSpPr txBox="1"/>
            <p:nvPr/>
          </p:nvSpPr>
          <p:spPr>
            <a:xfrm>
              <a:off x="2594885" y="2228372"/>
              <a:ext cx="154017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To reduce OPEX by flexibly optimi</a:t>
              </a:r>
              <a:r>
                <a:rPr kumimoji="0" lang="en-US" altLang="zh-TW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微軟正黑體" panose="020B0604030504040204" pitchFamily="34" charset="-120"/>
                  <a:cs typeface="Arial" pitchFamily="34" charset="0"/>
                </a:rPr>
                <a:t>z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ing batteries, charging schedules &amp; energy asset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AE292C53-FB38-43FE-8976-0673FBF31C56}"/>
                </a:ext>
              </a:extLst>
            </p:cNvPr>
            <p:cNvSpPr txBox="1"/>
            <p:nvPr/>
          </p:nvSpPr>
          <p:spPr>
            <a:xfrm>
              <a:off x="2590200" y="1766707"/>
              <a:ext cx="1548359" cy="46166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Smart Charging and Telemetry Software</a:t>
              </a:r>
              <a:endParaRPr kumimoji="0" lang="ko-KR" alt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</p:grpSp>
      <p:sp>
        <p:nvSpPr>
          <p:cNvPr id="6" name="자유형: 도형 50">
            <a:extLst>
              <a:ext uri="{FF2B5EF4-FFF2-40B4-BE49-F238E27FC236}">
                <a16:creationId xmlns:a16="http://schemas.microsoft.com/office/drawing/2014/main" id="{8AFA7658-8746-4116-B8D0-4513172FFBA3}"/>
              </a:ext>
            </a:extLst>
          </p:cNvPr>
          <p:cNvSpPr>
            <a:spLocks noChangeAspect="1"/>
          </p:cNvSpPr>
          <p:nvPr/>
        </p:nvSpPr>
        <p:spPr>
          <a:xfrm rot="10800000">
            <a:off x="3340813" y="2568014"/>
            <a:ext cx="904573" cy="1501406"/>
          </a:xfrm>
          <a:custGeom>
            <a:avLst/>
            <a:gdLst>
              <a:gd name="connsiteX0" fmla="*/ 1047232 w 1957642"/>
              <a:gd name="connsiteY0" fmla="*/ 5654 h 3249282"/>
              <a:gd name="connsiteX1" fmla="*/ 1030640 w 1957642"/>
              <a:gd name="connsiteY1" fmla="*/ 5654 h 3249282"/>
              <a:gd name="connsiteX2" fmla="*/ 1048024 w 1957642"/>
              <a:gd name="connsiteY2" fmla="*/ 0 h 3249282"/>
              <a:gd name="connsiteX3" fmla="*/ 1160845 w 1957642"/>
              <a:gd name="connsiteY3" fmla="*/ 2127215 h 3249282"/>
              <a:gd name="connsiteX4" fmla="*/ 1196036 w 1957642"/>
              <a:gd name="connsiteY4" fmla="*/ 2120110 h 3249282"/>
              <a:gd name="connsiteX5" fmla="*/ 1237844 w 1957642"/>
              <a:gd name="connsiteY5" fmla="*/ 2120446 h 3249282"/>
              <a:gd name="connsiteX6" fmla="*/ 1296213 w 1957642"/>
              <a:gd name="connsiteY6" fmla="*/ 2029106 h 3249282"/>
              <a:gd name="connsiteX7" fmla="*/ 1397562 w 1957642"/>
              <a:gd name="connsiteY7" fmla="*/ 1825853 h 3249282"/>
              <a:gd name="connsiteX8" fmla="*/ 1777778 w 1957642"/>
              <a:gd name="connsiteY8" fmla="*/ 1099228 h 3249282"/>
              <a:gd name="connsiteX9" fmla="*/ 980978 w 1957642"/>
              <a:gd name="connsiteY9" fmla="*/ 301427 h 3249282"/>
              <a:gd name="connsiteX10" fmla="*/ 980978 w 1957642"/>
              <a:gd name="connsiteY10" fmla="*/ 301625 h 3249282"/>
              <a:gd name="connsiteX11" fmla="*/ 978823 w 1957642"/>
              <a:gd name="connsiteY11" fmla="*/ 301459 h 3249282"/>
              <a:gd name="connsiteX12" fmla="*/ 976666 w 1957642"/>
              <a:gd name="connsiteY12" fmla="*/ 301625 h 3249282"/>
              <a:gd name="connsiteX13" fmla="*/ 976666 w 1957642"/>
              <a:gd name="connsiteY13" fmla="*/ 301427 h 3249282"/>
              <a:gd name="connsiteX14" fmla="*/ 179865 w 1957642"/>
              <a:gd name="connsiteY14" fmla="*/ 1099228 h 3249282"/>
              <a:gd name="connsiteX15" fmla="*/ 560081 w 1957642"/>
              <a:gd name="connsiteY15" fmla="*/ 1825853 h 3249282"/>
              <a:gd name="connsiteX16" fmla="*/ 661430 w 1957642"/>
              <a:gd name="connsiteY16" fmla="*/ 2029106 h 3249282"/>
              <a:gd name="connsiteX17" fmla="*/ 719799 w 1957642"/>
              <a:gd name="connsiteY17" fmla="*/ 2120446 h 3249282"/>
              <a:gd name="connsiteX18" fmla="*/ 770760 w 1957642"/>
              <a:gd name="connsiteY18" fmla="*/ 2120037 h 3249282"/>
              <a:gd name="connsiteX19" fmla="*/ 806315 w 1957642"/>
              <a:gd name="connsiteY19" fmla="*/ 2127215 h 3249282"/>
              <a:gd name="connsiteX20" fmla="*/ 1319520 w 1957642"/>
              <a:gd name="connsiteY20" fmla="*/ 2263042 h 3249282"/>
              <a:gd name="connsiteX21" fmla="*/ 978823 w 1957642"/>
              <a:gd name="connsiteY21" fmla="*/ 2261822 h 3249282"/>
              <a:gd name="connsiteX22" fmla="*/ 638123 w 1957642"/>
              <a:gd name="connsiteY22" fmla="*/ 2263042 h 3249282"/>
              <a:gd name="connsiteX23" fmla="*/ 513100 w 1957642"/>
              <a:gd name="connsiteY23" fmla="*/ 2169534 h 3249282"/>
              <a:gd name="connsiteX24" fmla="*/ 465828 w 1957642"/>
              <a:gd name="connsiteY24" fmla="*/ 1970355 h 3249282"/>
              <a:gd name="connsiteX25" fmla="*/ 0 w 1957642"/>
              <a:gd name="connsiteY25" fmla="*/ 1080372 h 3249282"/>
              <a:gd name="connsiteX26" fmla="*/ 976988 w 1957642"/>
              <a:gd name="connsiteY26" fmla="*/ 103385 h 3249282"/>
              <a:gd name="connsiteX27" fmla="*/ 978823 w 1957642"/>
              <a:gd name="connsiteY27" fmla="*/ 103526 h 3249282"/>
              <a:gd name="connsiteX28" fmla="*/ 980656 w 1957642"/>
              <a:gd name="connsiteY28" fmla="*/ 103385 h 3249282"/>
              <a:gd name="connsiteX29" fmla="*/ 1957642 w 1957642"/>
              <a:gd name="connsiteY29" fmla="*/ 1080372 h 3249282"/>
              <a:gd name="connsiteX30" fmla="*/ 1491816 w 1957642"/>
              <a:gd name="connsiteY30" fmla="*/ 1970355 h 3249282"/>
              <a:gd name="connsiteX31" fmla="*/ 1444543 w 1957642"/>
              <a:gd name="connsiteY31" fmla="*/ 2169534 h 3249282"/>
              <a:gd name="connsiteX32" fmla="*/ 1319520 w 1957642"/>
              <a:gd name="connsiteY32" fmla="*/ 2263042 h 3249282"/>
              <a:gd name="connsiteX33" fmla="*/ 1407452 w 1957642"/>
              <a:gd name="connsiteY33" fmla="*/ 2485514 h 3249282"/>
              <a:gd name="connsiteX34" fmla="*/ 558453 w 1957642"/>
              <a:gd name="connsiteY34" fmla="*/ 2485514 h 3249282"/>
              <a:gd name="connsiteX35" fmla="*/ 491321 w 1957642"/>
              <a:gd name="connsiteY35" fmla="*/ 2418383 h 3249282"/>
              <a:gd name="connsiteX36" fmla="*/ 491321 w 1957642"/>
              <a:gd name="connsiteY36" fmla="*/ 2388750 h 3249282"/>
              <a:gd name="connsiteX37" fmla="*/ 558453 w 1957642"/>
              <a:gd name="connsiteY37" fmla="*/ 2321619 h 3249282"/>
              <a:gd name="connsiteX38" fmla="*/ 1407452 w 1957642"/>
              <a:gd name="connsiteY38" fmla="*/ 2321619 h 3249282"/>
              <a:gd name="connsiteX39" fmla="*/ 1474583 w 1957642"/>
              <a:gd name="connsiteY39" fmla="*/ 2388750 h 3249282"/>
              <a:gd name="connsiteX40" fmla="*/ 1474583 w 1957642"/>
              <a:gd name="connsiteY40" fmla="*/ 2418383 h 3249282"/>
              <a:gd name="connsiteX41" fmla="*/ 1407452 w 1957642"/>
              <a:gd name="connsiteY41" fmla="*/ 2485514 h 3249282"/>
              <a:gd name="connsiteX42" fmla="*/ 1374676 w 1957642"/>
              <a:gd name="connsiteY42" fmla="*/ 2707334 h 3249282"/>
              <a:gd name="connsiteX43" fmla="*/ 591228 w 1957642"/>
              <a:gd name="connsiteY43" fmla="*/ 2707334 h 3249282"/>
              <a:gd name="connsiteX44" fmla="*/ 524097 w 1957642"/>
              <a:gd name="connsiteY44" fmla="*/ 2640203 h 3249282"/>
              <a:gd name="connsiteX45" fmla="*/ 524097 w 1957642"/>
              <a:gd name="connsiteY45" fmla="*/ 2610570 h 3249282"/>
              <a:gd name="connsiteX46" fmla="*/ 591228 w 1957642"/>
              <a:gd name="connsiteY46" fmla="*/ 2543440 h 3249282"/>
              <a:gd name="connsiteX47" fmla="*/ 1374676 w 1957642"/>
              <a:gd name="connsiteY47" fmla="*/ 2543440 h 3249282"/>
              <a:gd name="connsiteX48" fmla="*/ 1441808 w 1957642"/>
              <a:gd name="connsiteY48" fmla="*/ 2610570 h 3249282"/>
              <a:gd name="connsiteX49" fmla="*/ 1441808 w 1957642"/>
              <a:gd name="connsiteY49" fmla="*/ 2640203 h 3249282"/>
              <a:gd name="connsiteX50" fmla="*/ 1374676 w 1957642"/>
              <a:gd name="connsiteY50" fmla="*/ 2707334 h 3249282"/>
              <a:gd name="connsiteX51" fmla="*/ 1341902 w 1957642"/>
              <a:gd name="connsiteY51" fmla="*/ 2929154 h 3249282"/>
              <a:gd name="connsiteX52" fmla="*/ 624004 w 1957642"/>
              <a:gd name="connsiteY52" fmla="*/ 2929154 h 3249282"/>
              <a:gd name="connsiteX53" fmla="*/ 556873 w 1957642"/>
              <a:gd name="connsiteY53" fmla="*/ 2862023 h 3249282"/>
              <a:gd name="connsiteX54" fmla="*/ 556873 w 1957642"/>
              <a:gd name="connsiteY54" fmla="*/ 2832390 h 3249282"/>
              <a:gd name="connsiteX55" fmla="*/ 624004 w 1957642"/>
              <a:gd name="connsiteY55" fmla="*/ 2765259 h 3249282"/>
              <a:gd name="connsiteX56" fmla="*/ 1341902 w 1957642"/>
              <a:gd name="connsiteY56" fmla="*/ 2765259 h 3249282"/>
              <a:gd name="connsiteX57" fmla="*/ 1409033 w 1957642"/>
              <a:gd name="connsiteY57" fmla="*/ 2832390 h 3249282"/>
              <a:gd name="connsiteX58" fmla="*/ 1409033 w 1957642"/>
              <a:gd name="connsiteY58" fmla="*/ 2862023 h 3249282"/>
              <a:gd name="connsiteX59" fmla="*/ 1341902 w 1957642"/>
              <a:gd name="connsiteY59" fmla="*/ 2929154 h 3249282"/>
              <a:gd name="connsiteX60" fmla="*/ 982953 w 1957642"/>
              <a:gd name="connsiteY60" fmla="*/ 3249282 h 3249282"/>
              <a:gd name="connsiteX61" fmla="*/ 622424 w 1957642"/>
              <a:gd name="connsiteY61" fmla="*/ 3118181 h 3249282"/>
              <a:gd name="connsiteX62" fmla="*/ 622424 w 1957642"/>
              <a:gd name="connsiteY62" fmla="*/ 2987080 h 3249282"/>
              <a:gd name="connsiteX63" fmla="*/ 1343482 w 1957642"/>
              <a:gd name="connsiteY63" fmla="*/ 2987080 h 3249282"/>
              <a:gd name="connsiteX64" fmla="*/ 1343482 w 1957642"/>
              <a:gd name="connsiteY64" fmla="*/ 3118181 h 3249282"/>
              <a:gd name="connsiteX65" fmla="*/ 982953 w 1957642"/>
              <a:gd name="connsiteY65" fmla="*/ 3249282 h 3249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1957642" h="3249282">
                <a:moveTo>
                  <a:pt x="1047232" y="5654"/>
                </a:moveTo>
                <a:lnTo>
                  <a:pt x="1030640" y="5654"/>
                </a:lnTo>
                <a:lnTo>
                  <a:pt x="1048024" y="0"/>
                </a:lnTo>
                <a:close/>
                <a:moveTo>
                  <a:pt x="1160845" y="2127215"/>
                </a:moveTo>
                <a:lnTo>
                  <a:pt x="1196036" y="2120110"/>
                </a:lnTo>
                <a:lnTo>
                  <a:pt x="1237844" y="2120446"/>
                </a:lnTo>
                <a:cubicBezTo>
                  <a:pt x="1308896" y="2116324"/>
                  <a:pt x="1283850" y="2108399"/>
                  <a:pt x="1296213" y="2029106"/>
                </a:cubicBezTo>
                <a:cubicBezTo>
                  <a:pt x="1327247" y="1916021"/>
                  <a:pt x="1321193" y="1914210"/>
                  <a:pt x="1397562" y="1825853"/>
                </a:cubicBezTo>
                <a:cubicBezTo>
                  <a:pt x="1565052" y="1691460"/>
                  <a:pt x="1777778" y="1397289"/>
                  <a:pt x="1777778" y="1099228"/>
                </a:cubicBezTo>
                <a:cubicBezTo>
                  <a:pt x="1777778" y="658937"/>
                  <a:pt x="1421136" y="301944"/>
                  <a:pt x="980978" y="301427"/>
                </a:cubicBezTo>
                <a:lnTo>
                  <a:pt x="980978" y="301625"/>
                </a:lnTo>
                <a:lnTo>
                  <a:pt x="978823" y="301459"/>
                </a:lnTo>
                <a:lnTo>
                  <a:pt x="976666" y="301625"/>
                </a:lnTo>
                <a:lnTo>
                  <a:pt x="976666" y="301427"/>
                </a:lnTo>
                <a:cubicBezTo>
                  <a:pt x="536507" y="301944"/>
                  <a:pt x="179865" y="658937"/>
                  <a:pt x="179865" y="1099228"/>
                </a:cubicBezTo>
                <a:cubicBezTo>
                  <a:pt x="179865" y="1397289"/>
                  <a:pt x="392591" y="1691460"/>
                  <a:pt x="560081" y="1825853"/>
                </a:cubicBezTo>
                <a:cubicBezTo>
                  <a:pt x="636451" y="1914210"/>
                  <a:pt x="630396" y="1916021"/>
                  <a:pt x="661430" y="2029106"/>
                </a:cubicBezTo>
                <a:cubicBezTo>
                  <a:pt x="673794" y="2108399"/>
                  <a:pt x="648747" y="2116324"/>
                  <a:pt x="719799" y="2120446"/>
                </a:cubicBezTo>
                <a:lnTo>
                  <a:pt x="770760" y="2120037"/>
                </a:lnTo>
                <a:lnTo>
                  <a:pt x="806315" y="2127215"/>
                </a:lnTo>
                <a:close/>
                <a:moveTo>
                  <a:pt x="1319520" y="2263042"/>
                </a:moveTo>
                <a:lnTo>
                  <a:pt x="978823" y="2261822"/>
                </a:lnTo>
                <a:lnTo>
                  <a:pt x="638123" y="2263042"/>
                </a:lnTo>
                <a:cubicBezTo>
                  <a:pt x="577778" y="2263042"/>
                  <a:pt x="547241" y="2240386"/>
                  <a:pt x="513100" y="2169534"/>
                </a:cubicBezTo>
                <a:cubicBezTo>
                  <a:pt x="499969" y="2077754"/>
                  <a:pt x="526938" y="2040759"/>
                  <a:pt x="465828" y="1970355"/>
                </a:cubicBezTo>
                <a:cubicBezTo>
                  <a:pt x="260705" y="1805868"/>
                  <a:pt x="0" y="1445504"/>
                  <a:pt x="0" y="1080372"/>
                </a:cubicBezTo>
                <a:cubicBezTo>
                  <a:pt x="0" y="540796"/>
                  <a:pt x="437413" y="103385"/>
                  <a:pt x="976988" y="103385"/>
                </a:cubicBezTo>
                <a:lnTo>
                  <a:pt x="978823" y="103526"/>
                </a:lnTo>
                <a:lnTo>
                  <a:pt x="980656" y="103385"/>
                </a:lnTo>
                <a:cubicBezTo>
                  <a:pt x="1520231" y="103385"/>
                  <a:pt x="1957642" y="540796"/>
                  <a:pt x="1957642" y="1080372"/>
                </a:cubicBezTo>
                <a:cubicBezTo>
                  <a:pt x="1957642" y="1445504"/>
                  <a:pt x="1696938" y="1805868"/>
                  <a:pt x="1491816" y="1970355"/>
                </a:cubicBezTo>
                <a:cubicBezTo>
                  <a:pt x="1430706" y="2040759"/>
                  <a:pt x="1457674" y="2077754"/>
                  <a:pt x="1444543" y="2169534"/>
                </a:cubicBezTo>
                <a:cubicBezTo>
                  <a:pt x="1410403" y="2240386"/>
                  <a:pt x="1379867" y="2263042"/>
                  <a:pt x="1319520" y="2263042"/>
                </a:cubicBezTo>
                <a:close/>
                <a:moveTo>
                  <a:pt x="1407452" y="2485514"/>
                </a:moveTo>
                <a:lnTo>
                  <a:pt x="558453" y="2485514"/>
                </a:lnTo>
                <a:cubicBezTo>
                  <a:pt x="521377" y="2485514"/>
                  <a:pt x="491321" y="2455458"/>
                  <a:pt x="491321" y="2418383"/>
                </a:cubicBezTo>
                <a:lnTo>
                  <a:pt x="491321" y="2388750"/>
                </a:lnTo>
                <a:cubicBezTo>
                  <a:pt x="491321" y="2351675"/>
                  <a:pt x="521377" y="2321619"/>
                  <a:pt x="558453" y="2321619"/>
                </a:cubicBezTo>
                <a:lnTo>
                  <a:pt x="1407452" y="2321619"/>
                </a:lnTo>
                <a:cubicBezTo>
                  <a:pt x="1444528" y="2321619"/>
                  <a:pt x="1474583" y="2351675"/>
                  <a:pt x="1474583" y="2388750"/>
                </a:cubicBezTo>
                <a:lnTo>
                  <a:pt x="1474583" y="2418383"/>
                </a:lnTo>
                <a:cubicBezTo>
                  <a:pt x="1474583" y="2455458"/>
                  <a:pt x="1444528" y="2485514"/>
                  <a:pt x="1407452" y="2485514"/>
                </a:cubicBezTo>
                <a:close/>
                <a:moveTo>
                  <a:pt x="1374676" y="2707334"/>
                </a:moveTo>
                <a:lnTo>
                  <a:pt x="591228" y="2707334"/>
                </a:lnTo>
                <a:cubicBezTo>
                  <a:pt x="554153" y="2707334"/>
                  <a:pt x="524097" y="2677278"/>
                  <a:pt x="524097" y="2640203"/>
                </a:cubicBezTo>
                <a:lnTo>
                  <a:pt x="524097" y="2610570"/>
                </a:lnTo>
                <a:cubicBezTo>
                  <a:pt x="524097" y="2573495"/>
                  <a:pt x="554153" y="2543440"/>
                  <a:pt x="591228" y="2543440"/>
                </a:cubicBezTo>
                <a:lnTo>
                  <a:pt x="1374676" y="2543440"/>
                </a:lnTo>
                <a:cubicBezTo>
                  <a:pt x="1411752" y="2543440"/>
                  <a:pt x="1441808" y="2573495"/>
                  <a:pt x="1441808" y="2610570"/>
                </a:cubicBezTo>
                <a:lnTo>
                  <a:pt x="1441808" y="2640203"/>
                </a:lnTo>
                <a:cubicBezTo>
                  <a:pt x="1441808" y="2677278"/>
                  <a:pt x="1411752" y="2707334"/>
                  <a:pt x="1374676" y="2707334"/>
                </a:cubicBezTo>
                <a:close/>
                <a:moveTo>
                  <a:pt x="1341902" y="2929154"/>
                </a:moveTo>
                <a:lnTo>
                  <a:pt x="624004" y="2929154"/>
                </a:lnTo>
                <a:cubicBezTo>
                  <a:pt x="586929" y="2929154"/>
                  <a:pt x="556873" y="2899098"/>
                  <a:pt x="556873" y="2862023"/>
                </a:cubicBezTo>
                <a:lnTo>
                  <a:pt x="556873" y="2832390"/>
                </a:lnTo>
                <a:cubicBezTo>
                  <a:pt x="556873" y="2795315"/>
                  <a:pt x="586929" y="2765259"/>
                  <a:pt x="624004" y="2765259"/>
                </a:cubicBezTo>
                <a:lnTo>
                  <a:pt x="1341902" y="2765259"/>
                </a:lnTo>
                <a:cubicBezTo>
                  <a:pt x="1378978" y="2765259"/>
                  <a:pt x="1409033" y="2795315"/>
                  <a:pt x="1409033" y="2832390"/>
                </a:cubicBezTo>
                <a:lnTo>
                  <a:pt x="1409033" y="2862023"/>
                </a:lnTo>
                <a:cubicBezTo>
                  <a:pt x="1409033" y="2899098"/>
                  <a:pt x="1378978" y="2929154"/>
                  <a:pt x="1341902" y="2929154"/>
                </a:cubicBezTo>
                <a:close/>
                <a:moveTo>
                  <a:pt x="982953" y="3249282"/>
                </a:moveTo>
                <a:cubicBezTo>
                  <a:pt x="783838" y="3249282"/>
                  <a:pt x="622424" y="3190586"/>
                  <a:pt x="622424" y="3118181"/>
                </a:cubicBezTo>
                <a:lnTo>
                  <a:pt x="622424" y="2987080"/>
                </a:lnTo>
                <a:lnTo>
                  <a:pt x="1343482" y="2987080"/>
                </a:lnTo>
                <a:lnTo>
                  <a:pt x="1343482" y="3118181"/>
                </a:lnTo>
                <a:cubicBezTo>
                  <a:pt x="1343482" y="3190586"/>
                  <a:pt x="1182068" y="3249282"/>
                  <a:pt x="982953" y="3249282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EEA6DCC-006C-49FF-8CAC-A25B041A1782}"/>
              </a:ext>
            </a:extLst>
          </p:cNvPr>
          <p:cNvSpPr/>
          <p:nvPr/>
        </p:nvSpPr>
        <p:spPr>
          <a:xfrm>
            <a:off x="1586989" y="1787646"/>
            <a:ext cx="45719" cy="82296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F2BF857-DBE2-4742-8725-CF90F276E387}"/>
              </a:ext>
            </a:extLst>
          </p:cNvPr>
          <p:cNvGrpSpPr/>
          <p:nvPr/>
        </p:nvGrpSpPr>
        <p:grpSpPr>
          <a:xfrm>
            <a:off x="741833" y="4239238"/>
            <a:ext cx="1771810" cy="1292662"/>
            <a:chOff x="2586698" y="1766707"/>
            <a:chExt cx="1551861" cy="1292662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79C07B77-A6CC-4804-A009-7B2D4165DCF8}"/>
                </a:ext>
              </a:extLst>
            </p:cNvPr>
            <p:cNvSpPr txBox="1"/>
            <p:nvPr/>
          </p:nvSpPr>
          <p:spPr>
            <a:xfrm>
              <a:off x="2586698" y="2228372"/>
              <a:ext cx="1540172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To support e-bus depot design, configuration and deployment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A4E8C07-E46D-46EF-A02B-3BDB5510FCA9}"/>
                </a:ext>
              </a:extLst>
            </p:cNvPr>
            <p:cNvSpPr txBox="1"/>
            <p:nvPr/>
          </p:nvSpPr>
          <p:spPr>
            <a:xfrm>
              <a:off x="2590200" y="1766707"/>
              <a:ext cx="1548359" cy="46166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Charging strategy &amp; infrastructure 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</p:grpSp>
      <p:sp>
        <p:nvSpPr>
          <p:cNvPr id="11" name="자유형: 도형 49">
            <a:extLst>
              <a:ext uri="{FF2B5EF4-FFF2-40B4-BE49-F238E27FC236}">
                <a16:creationId xmlns:a16="http://schemas.microsoft.com/office/drawing/2014/main" id="{6B10B4CE-F931-43CE-9ABE-D33E408BC992}"/>
              </a:ext>
            </a:extLst>
          </p:cNvPr>
          <p:cNvSpPr>
            <a:spLocks noChangeAspect="1"/>
          </p:cNvSpPr>
          <p:nvPr/>
        </p:nvSpPr>
        <p:spPr>
          <a:xfrm rot="10800000">
            <a:off x="1157561" y="2570530"/>
            <a:ext cx="904573" cy="1501406"/>
          </a:xfrm>
          <a:custGeom>
            <a:avLst/>
            <a:gdLst>
              <a:gd name="connsiteX0" fmla="*/ 1047232 w 1957642"/>
              <a:gd name="connsiteY0" fmla="*/ 5654 h 3249282"/>
              <a:gd name="connsiteX1" fmla="*/ 1030640 w 1957642"/>
              <a:gd name="connsiteY1" fmla="*/ 5654 h 3249282"/>
              <a:gd name="connsiteX2" fmla="*/ 1048024 w 1957642"/>
              <a:gd name="connsiteY2" fmla="*/ 0 h 3249282"/>
              <a:gd name="connsiteX3" fmla="*/ 1160845 w 1957642"/>
              <a:gd name="connsiteY3" fmla="*/ 2127215 h 3249282"/>
              <a:gd name="connsiteX4" fmla="*/ 1196036 w 1957642"/>
              <a:gd name="connsiteY4" fmla="*/ 2120110 h 3249282"/>
              <a:gd name="connsiteX5" fmla="*/ 1237844 w 1957642"/>
              <a:gd name="connsiteY5" fmla="*/ 2120446 h 3249282"/>
              <a:gd name="connsiteX6" fmla="*/ 1296213 w 1957642"/>
              <a:gd name="connsiteY6" fmla="*/ 2029106 h 3249282"/>
              <a:gd name="connsiteX7" fmla="*/ 1397562 w 1957642"/>
              <a:gd name="connsiteY7" fmla="*/ 1825853 h 3249282"/>
              <a:gd name="connsiteX8" fmla="*/ 1777778 w 1957642"/>
              <a:gd name="connsiteY8" fmla="*/ 1099228 h 3249282"/>
              <a:gd name="connsiteX9" fmla="*/ 980978 w 1957642"/>
              <a:gd name="connsiteY9" fmla="*/ 301427 h 3249282"/>
              <a:gd name="connsiteX10" fmla="*/ 980978 w 1957642"/>
              <a:gd name="connsiteY10" fmla="*/ 301625 h 3249282"/>
              <a:gd name="connsiteX11" fmla="*/ 978823 w 1957642"/>
              <a:gd name="connsiteY11" fmla="*/ 301459 h 3249282"/>
              <a:gd name="connsiteX12" fmla="*/ 976666 w 1957642"/>
              <a:gd name="connsiteY12" fmla="*/ 301625 h 3249282"/>
              <a:gd name="connsiteX13" fmla="*/ 976666 w 1957642"/>
              <a:gd name="connsiteY13" fmla="*/ 301427 h 3249282"/>
              <a:gd name="connsiteX14" fmla="*/ 179865 w 1957642"/>
              <a:gd name="connsiteY14" fmla="*/ 1099228 h 3249282"/>
              <a:gd name="connsiteX15" fmla="*/ 560081 w 1957642"/>
              <a:gd name="connsiteY15" fmla="*/ 1825853 h 3249282"/>
              <a:gd name="connsiteX16" fmla="*/ 661430 w 1957642"/>
              <a:gd name="connsiteY16" fmla="*/ 2029106 h 3249282"/>
              <a:gd name="connsiteX17" fmla="*/ 719799 w 1957642"/>
              <a:gd name="connsiteY17" fmla="*/ 2120446 h 3249282"/>
              <a:gd name="connsiteX18" fmla="*/ 770760 w 1957642"/>
              <a:gd name="connsiteY18" fmla="*/ 2120037 h 3249282"/>
              <a:gd name="connsiteX19" fmla="*/ 806315 w 1957642"/>
              <a:gd name="connsiteY19" fmla="*/ 2127215 h 3249282"/>
              <a:gd name="connsiteX20" fmla="*/ 1319520 w 1957642"/>
              <a:gd name="connsiteY20" fmla="*/ 2263042 h 3249282"/>
              <a:gd name="connsiteX21" fmla="*/ 978823 w 1957642"/>
              <a:gd name="connsiteY21" fmla="*/ 2261822 h 3249282"/>
              <a:gd name="connsiteX22" fmla="*/ 638123 w 1957642"/>
              <a:gd name="connsiteY22" fmla="*/ 2263042 h 3249282"/>
              <a:gd name="connsiteX23" fmla="*/ 513100 w 1957642"/>
              <a:gd name="connsiteY23" fmla="*/ 2169534 h 3249282"/>
              <a:gd name="connsiteX24" fmla="*/ 465828 w 1957642"/>
              <a:gd name="connsiteY24" fmla="*/ 1970355 h 3249282"/>
              <a:gd name="connsiteX25" fmla="*/ 0 w 1957642"/>
              <a:gd name="connsiteY25" fmla="*/ 1080372 h 3249282"/>
              <a:gd name="connsiteX26" fmla="*/ 976988 w 1957642"/>
              <a:gd name="connsiteY26" fmla="*/ 103385 h 3249282"/>
              <a:gd name="connsiteX27" fmla="*/ 978823 w 1957642"/>
              <a:gd name="connsiteY27" fmla="*/ 103526 h 3249282"/>
              <a:gd name="connsiteX28" fmla="*/ 980656 w 1957642"/>
              <a:gd name="connsiteY28" fmla="*/ 103385 h 3249282"/>
              <a:gd name="connsiteX29" fmla="*/ 1957642 w 1957642"/>
              <a:gd name="connsiteY29" fmla="*/ 1080372 h 3249282"/>
              <a:gd name="connsiteX30" fmla="*/ 1491816 w 1957642"/>
              <a:gd name="connsiteY30" fmla="*/ 1970355 h 3249282"/>
              <a:gd name="connsiteX31" fmla="*/ 1444543 w 1957642"/>
              <a:gd name="connsiteY31" fmla="*/ 2169534 h 3249282"/>
              <a:gd name="connsiteX32" fmla="*/ 1319520 w 1957642"/>
              <a:gd name="connsiteY32" fmla="*/ 2263042 h 3249282"/>
              <a:gd name="connsiteX33" fmla="*/ 1407452 w 1957642"/>
              <a:gd name="connsiteY33" fmla="*/ 2485514 h 3249282"/>
              <a:gd name="connsiteX34" fmla="*/ 558453 w 1957642"/>
              <a:gd name="connsiteY34" fmla="*/ 2485514 h 3249282"/>
              <a:gd name="connsiteX35" fmla="*/ 491321 w 1957642"/>
              <a:gd name="connsiteY35" fmla="*/ 2418383 h 3249282"/>
              <a:gd name="connsiteX36" fmla="*/ 491321 w 1957642"/>
              <a:gd name="connsiteY36" fmla="*/ 2388750 h 3249282"/>
              <a:gd name="connsiteX37" fmla="*/ 558453 w 1957642"/>
              <a:gd name="connsiteY37" fmla="*/ 2321619 h 3249282"/>
              <a:gd name="connsiteX38" fmla="*/ 1407452 w 1957642"/>
              <a:gd name="connsiteY38" fmla="*/ 2321619 h 3249282"/>
              <a:gd name="connsiteX39" fmla="*/ 1474583 w 1957642"/>
              <a:gd name="connsiteY39" fmla="*/ 2388750 h 3249282"/>
              <a:gd name="connsiteX40" fmla="*/ 1474583 w 1957642"/>
              <a:gd name="connsiteY40" fmla="*/ 2418383 h 3249282"/>
              <a:gd name="connsiteX41" fmla="*/ 1407452 w 1957642"/>
              <a:gd name="connsiteY41" fmla="*/ 2485514 h 3249282"/>
              <a:gd name="connsiteX42" fmla="*/ 1374676 w 1957642"/>
              <a:gd name="connsiteY42" fmla="*/ 2707334 h 3249282"/>
              <a:gd name="connsiteX43" fmla="*/ 591228 w 1957642"/>
              <a:gd name="connsiteY43" fmla="*/ 2707334 h 3249282"/>
              <a:gd name="connsiteX44" fmla="*/ 524097 w 1957642"/>
              <a:gd name="connsiteY44" fmla="*/ 2640203 h 3249282"/>
              <a:gd name="connsiteX45" fmla="*/ 524097 w 1957642"/>
              <a:gd name="connsiteY45" fmla="*/ 2610570 h 3249282"/>
              <a:gd name="connsiteX46" fmla="*/ 591228 w 1957642"/>
              <a:gd name="connsiteY46" fmla="*/ 2543440 h 3249282"/>
              <a:gd name="connsiteX47" fmla="*/ 1374676 w 1957642"/>
              <a:gd name="connsiteY47" fmla="*/ 2543440 h 3249282"/>
              <a:gd name="connsiteX48" fmla="*/ 1441808 w 1957642"/>
              <a:gd name="connsiteY48" fmla="*/ 2610570 h 3249282"/>
              <a:gd name="connsiteX49" fmla="*/ 1441808 w 1957642"/>
              <a:gd name="connsiteY49" fmla="*/ 2640203 h 3249282"/>
              <a:gd name="connsiteX50" fmla="*/ 1374676 w 1957642"/>
              <a:gd name="connsiteY50" fmla="*/ 2707334 h 3249282"/>
              <a:gd name="connsiteX51" fmla="*/ 1341902 w 1957642"/>
              <a:gd name="connsiteY51" fmla="*/ 2929154 h 3249282"/>
              <a:gd name="connsiteX52" fmla="*/ 624004 w 1957642"/>
              <a:gd name="connsiteY52" fmla="*/ 2929154 h 3249282"/>
              <a:gd name="connsiteX53" fmla="*/ 556873 w 1957642"/>
              <a:gd name="connsiteY53" fmla="*/ 2862023 h 3249282"/>
              <a:gd name="connsiteX54" fmla="*/ 556873 w 1957642"/>
              <a:gd name="connsiteY54" fmla="*/ 2832390 h 3249282"/>
              <a:gd name="connsiteX55" fmla="*/ 624004 w 1957642"/>
              <a:gd name="connsiteY55" fmla="*/ 2765259 h 3249282"/>
              <a:gd name="connsiteX56" fmla="*/ 1341902 w 1957642"/>
              <a:gd name="connsiteY56" fmla="*/ 2765259 h 3249282"/>
              <a:gd name="connsiteX57" fmla="*/ 1409033 w 1957642"/>
              <a:gd name="connsiteY57" fmla="*/ 2832390 h 3249282"/>
              <a:gd name="connsiteX58" fmla="*/ 1409033 w 1957642"/>
              <a:gd name="connsiteY58" fmla="*/ 2862023 h 3249282"/>
              <a:gd name="connsiteX59" fmla="*/ 1341902 w 1957642"/>
              <a:gd name="connsiteY59" fmla="*/ 2929154 h 3249282"/>
              <a:gd name="connsiteX60" fmla="*/ 982953 w 1957642"/>
              <a:gd name="connsiteY60" fmla="*/ 3249282 h 3249282"/>
              <a:gd name="connsiteX61" fmla="*/ 622424 w 1957642"/>
              <a:gd name="connsiteY61" fmla="*/ 3118181 h 3249282"/>
              <a:gd name="connsiteX62" fmla="*/ 622424 w 1957642"/>
              <a:gd name="connsiteY62" fmla="*/ 2987080 h 3249282"/>
              <a:gd name="connsiteX63" fmla="*/ 1343482 w 1957642"/>
              <a:gd name="connsiteY63" fmla="*/ 2987080 h 3249282"/>
              <a:gd name="connsiteX64" fmla="*/ 1343482 w 1957642"/>
              <a:gd name="connsiteY64" fmla="*/ 3118181 h 3249282"/>
              <a:gd name="connsiteX65" fmla="*/ 982953 w 1957642"/>
              <a:gd name="connsiteY65" fmla="*/ 3249282 h 3249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1957642" h="3249282">
                <a:moveTo>
                  <a:pt x="1047232" y="5654"/>
                </a:moveTo>
                <a:lnTo>
                  <a:pt x="1030640" y="5654"/>
                </a:lnTo>
                <a:lnTo>
                  <a:pt x="1048024" y="0"/>
                </a:lnTo>
                <a:close/>
                <a:moveTo>
                  <a:pt x="1160845" y="2127215"/>
                </a:moveTo>
                <a:lnTo>
                  <a:pt x="1196036" y="2120110"/>
                </a:lnTo>
                <a:lnTo>
                  <a:pt x="1237844" y="2120446"/>
                </a:lnTo>
                <a:cubicBezTo>
                  <a:pt x="1308896" y="2116324"/>
                  <a:pt x="1283850" y="2108399"/>
                  <a:pt x="1296213" y="2029106"/>
                </a:cubicBezTo>
                <a:cubicBezTo>
                  <a:pt x="1327247" y="1916021"/>
                  <a:pt x="1321193" y="1914210"/>
                  <a:pt x="1397562" y="1825853"/>
                </a:cubicBezTo>
                <a:cubicBezTo>
                  <a:pt x="1565052" y="1691460"/>
                  <a:pt x="1777778" y="1397289"/>
                  <a:pt x="1777778" y="1099228"/>
                </a:cubicBezTo>
                <a:cubicBezTo>
                  <a:pt x="1777778" y="658937"/>
                  <a:pt x="1421136" y="301944"/>
                  <a:pt x="980978" y="301427"/>
                </a:cubicBezTo>
                <a:lnTo>
                  <a:pt x="980978" y="301625"/>
                </a:lnTo>
                <a:lnTo>
                  <a:pt x="978823" y="301459"/>
                </a:lnTo>
                <a:lnTo>
                  <a:pt x="976666" y="301625"/>
                </a:lnTo>
                <a:lnTo>
                  <a:pt x="976666" y="301427"/>
                </a:lnTo>
                <a:cubicBezTo>
                  <a:pt x="536507" y="301944"/>
                  <a:pt x="179865" y="658937"/>
                  <a:pt x="179865" y="1099228"/>
                </a:cubicBezTo>
                <a:cubicBezTo>
                  <a:pt x="179865" y="1397289"/>
                  <a:pt x="392591" y="1691460"/>
                  <a:pt x="560081" y="1825853"/>
                </a:cubicBezTo>
                <a:cubicBezTo>
                  <a:pt x="636451" y="1914210"/>
                  <a:pt x="630396" y="1916021"/>
                  <a:pt x="661430" y="2029106"/>
                </a:cubicBezTo>
                <a:cubicBezTo>
                  <a:pt x="673794" y="2108399"/>
                  <a:pt x="648747" y="2116324"/>
                  <a:pt x="719799" y="2120446"/>
                </a:cubicBezTo>
                <a:lnTo>
                  <a:pt x="770760" y="2120037"/>
                </a:lnTo>
                <a:lnTo>
                  <a:pt x="806315" y="2127215"/>
                </a:lnTo>
                <a:close/>
                <a:moveTo>
                  <a:pt x="1319520" y="2263042"/>
                </a:moveTo>
                <a:lnTo>
                  <a:pt x="978823" y="2261822"/>
                </a:lnTo>
                <a:lnTo>
                  <a:pt x="638123" y="2263042"/>
                </a:lnTo>
                <a:cubicBezTo>
                  <a:pt x="577778" y="2263042"/>
                  <a:pt x="547241" y="2240386"/>
                  <a:pt x="513100" y="2169534"/>
                </a:cubicBezTo>
                <a:cubicBezTo>
                  <a:pt x="499969" y="2077754"/>
                  <a:pt x="526938" y="2040759"/>
                  <a:pt x="465828" y="1970355"/>
                </a:cubicBezTo>
                <a:cubicBezTo>
                  <a:pt x="260705" y="1805868"/>
                  <a:pt x="0" y="1445504"/>
                  <a:pt x="0" y="1080372"/>
                </a:cubicBezTo>
                <a:cubicBezTo>
                  <a:pt x="0" y="540796"/>
                  <a:pt x="437413" y="103385"/>
                  <a:pt x="976988" y="103385"/>
                </a:cubicBezTo>
                <a:lnTo>
                  <a:pt x="978823" y="103526"/>
                </a:lnTo>
                <a:lnTo>
                  <a:pt x="980656" y="103385"/>
                </a:lnTo>
                <a:cubicBezTo>
                  <a:pt x="1520231" y="103385"/>
                  <a:pt x="1957642" y="540796"/>
                  <a:pt x="1957642" y="1080372"/>
                </a:cubicBezTo>
                <a:cubicBezTo>
                  <a:pt x="1957642" y="1445504"/>
                  <a:pt x="1696938" y="1805868"/>
                  <a:pt x="1491816" y="1970355"/>
                </a:cubicBezTo>
                <a:cubicBezTo>
                  <a:pt x="1430706" y="2040759"/>
                  <a:pt x="1457674" y="2077754"/>
                  <a:pt x="1444543" y="2169534"/>
                </a:cubicBezTo>
                <a:cubicBezTo>
                  <a:pt x="1410403" y="2240386"/>
                  <a:pt x="1379867" y="2263042"/>
                  <a:pt x="1319520" y="2263042"/>
                </a:cubicBezTo>
                <a:close/>
                <a:moveTo>
                  <a:pt x="1407452" y="2485514"/>
                </a:moveTo>
                <a:lnTo>
                  <a:pt x="558453" y="2485514"/>
                </a:lnTo>
                <a:cubicBezTo>
                  <a:pt x="521377" y="2485514"/>
                  <a:pt x="491321" y="2455458"/>
                  <a:pt x="491321" y="2418383"/>
                </a:cubicBezTo>
                <a:lnTo>
                  <a:pt x="491321" y="2388750"/>
                </a:lnTo>
                <a:cubicBezTo>
                  <a:pt x="491321" y="2351675"/>
                  <a:pt x="521377" y="2321619"/>
                  <a:pt x="558453" y="2321619"/>
                </a:cubicBezTo>
                <a:lnTo>
                  <a:pt x="1407452" y="2321619"/>
                </a:lnTo>
                <a:cubicBezTo>
                  <a:pt x="1444528" y="2321619"/>
                  <a:pt x="1474583" y="2351675"/>
                  <a:pt x="1474583" y="2388750"/>
                </a:cubicBezTo>
                <a:lnTo>
                  <a:pt x="1474583" y="2418383"/>
                </a:lnTo>
                <a:cubicBezTo>
                  <a:pt x="1474583" y="2455458"/>
                  <a:pt x="1444528" y="2485514"/>
                  <a:pt x="1407452" y="2485514"/>
                </a:cubicBezTo>
                <a:close/>
                <a:moveTo>
                  <a:pt x="1374676" y="2707334"/>
                </a:moveTo>
                <a:lnTo>
                  <a:pt x="591228" y="2707334"/>
                </a:lnTo>
                <a:cubicBezTo>
                  <a:pt x="554153" y="2707334"/>
                  <a:pt x="524097" y="2677278"/>
                  <a:pt x="524097" y="2640203"/>
                </a:cubicBezTo>
                <a:lnTo>
                  <a:pt x="524097" y="2610570"/>
                </a:lnTo>
                <a:cubicBezTo>
                  <a:pt x="524097" y="2573495"/>
                  <a:pt x="554153" y="2543440"/>
                  <a:pt x="591228" y="2543440"/>
                </a:cubicBezTo>
                <a:lnTo>
                  <a:pt x="1374676" y="2543440"/>
                </a:lnTo>
                <a:cubicBezTo>
                  <a:pt x="1411752" y="2543440"/>
                  <a:pt x="1441808" y="2573495"/>
                  <a:pt x="1441808" y="2610570"/>
                </a:cubicBezTo>
                <a:lnTo>
                  <a:pt x="1441808" y="2640203"/>
                </a:lnTo>
                <a:cubicBezTo>
                  <a:pt x="1441808" y="2677278"/>
                  <a:pt x="1411752" y="2707334"/>
                  <a:pt x="1374676" y="2707334"/>
                </a:cubicBezTo>
                <a:close/>
                <a:moveTo>
                  <a:pt x="1341902" y="2929154"/>
                </a:moveTo>
                <a:lnTo>
                  <a:pt x="624004" y="2929154"/>
                </a:lnTo>
                <a:cubicBezTo>
                  <a:pt x="586929" y="2929154"/>
                  <a:pt x="556873" y="2899098"/>
                  <a:pt x="556873" y="2862023"/>
                </a:cubicBezTo>
                <a:lnTo>
                  <a:pt x="556873" y="2832390"/>
                </a:lnTo>
                <a:cubicBezTo>
                  <a:pt x="556873" y="2795315"/>
                  <a:pt x="586929" y="2765259"/>
                  <a:pt x="624004" y="2765259"/>
                </a:cubicBezTo>
                <a:lnTo>
                  <a:pt x="1341902" y="2765259"/>
                </a:lnTo>
                <a:cubicBezTo>
                  <a:pt x="1378978" y="2765259"/>
                  <a:pt x="1409033" y="2795315"/>
                  <a:pt x="1409033" y="2832390"/>
                </a:cubicBezTo>
                <a:lnTo>
                  <a:pt x="1409033" y="2862023"/>
                </a:lnTo>
                <a:cubicBezTo>
                  <a:pt x="1409033" y="2899098"/>
                  <a:pt x="1378978" y="2929154"/>
                  <a:pt x="1341902" y="2929154"/>
                </a:cubicBezTo>
                <a:close/>
                <a:moveTo>
                  <a:pt x="982953" y="3249282"/>
                </a:moveTo>
                <a:cubicBezTo>
                  <a:pt x="783838" y="3249282"/>
                  <a:pt x="622424" y="3190586"/>
                  <a:pt x="622424" y="3118181"/>
                </a:cubicBezTo>
                <a:lnTo>
                  <a:pt x="622424" y="2987080"/>
                </a:lnTo>
                <a:lnTo>
                  <a:pt x="1343482" y="2987080"/>
                </a:lnTo>
                <a:lnTo>
                  <a:pt x="1343482" y="3118181"/>
                </a:lnTo>
                <a:cubicBezTo>
                  <a:pt x="1343482" y="3190586"/>
                  <a:pt x="1182068" y="3249282"/>
                  <a:pt x="982953" y="3249282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99CD19-D294-4BCB-A23D-4FCFF61BBF10}"/>
              </a:ext>
            </a:extLst>
          </p:cNvPr>
          <p:cNvSpPr/>
          <p:nvPr/>
        </p:nvSpPr>
        <p:spPr>
          <a:xfrm>
            <a:off x="5962840" y="1787646"/>
            <a:ext cx="45719" cy="8229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3C53541-7B79-444D-97C1-C8D5FC00BAD5}"/>
              </a:ext>
            </a:extLst>
          </p:cNvPr>
          <p:cNvGrpSpPr/>
          <p:nvPr/>
        </p:nvGrpSpPr>
        <p:grpSpPr>
          <a:xfrm>
            <a:off x="5101791" y="4239238"/>
            <a:ext cx="1767816" cy="1477328"/>
            <a:chOff x="2555275" y="1766707"/>
            <a:chExt cx="1548362" cy="147732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CD4FCC6-8A89-474C-A311-05E6C8EA30CD}"/>
                </a:ext>
              </a:extLst>
            </p:cNvPr>
            <p:cNvSpPr txBox="1"/>
            <p:nvPr/>
          </p:nvSpPr>
          <p:spPr>
            <a:xfrm>
              <a:off x="2555275" y="2228372"/>
              <a:ext cx="154836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To reduce electricity purchase costs and gain profit </a:t>
              </a:r>
              <a:r>
                <a:rPr kumimoji="0" lang="en-US" altLang="ko-KR" sz="1200" b="0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by delivering </a:t>
              </a: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peak shaving and flexible grid services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8674625-4D05-4870-8384-BEFB18AFBCA5}"/>
                </a:ext>
              </a:extLst>
            </p:cNvPr>
            <p:cNvSpPr txBox="1"/>
            <p:nvPr/>
          </p:nvSpPr>
          <p:spPr>
            <a:xfrm>
              <a:off x="2679694" y="1766707"/>
              <a:ext cx="1361183" cy="46166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On-site PV &amp; energy storage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</p:grpSp>
      <p:sp>
        <p:nvSpPr>
          <p:cNvPr id="16" name="자유형: 도형 51">
            <a:extLst>
              <a:ext uri="{FF2B5EF4-FFF2-40B4-BE49-F238E27FC236}">
                <a16:creationId xmlns:a16="http://schemas.microsoft.com/office/drawing/2014/main" id="{74D20F28-F409-4E73-ABE8-607532872A19}"/>
              </a:ext>
            </a:extLst>
          </p:cNvPr>
          <p:cNvSpPr>
            <a:spLocks noChangeAspect="1"/>
          </p:cNvSpPr>
          <p:nvPr/>
        </p:nvSpPr>
        <p:spPr>
          <a:xfrm rot="10800000">
            <a:off x="5533412" y="2565496"/>
            <a:ext cx="904573" cy="1501406"/>
          </a:xfrm>
          <a:custGeom>
            <a:avLst/>
            <a:gdLst>
              <a:gd name="connsiteX0" fmla="*/ 1047232 w 1957642"/>
              <a:gd name="connsiteY0" fmla="*/ 5654 h 3249282"/>
              <a:gd name="connsiteX1" fmla="*/ 1030640 w 1957642"/>
              <a:gd name="connsiteY1" fmla="*/ 5654 h 3249282"/>
              <a:gd name="connsiteX2" fmla="*/ 1048024 w 1957642"/>
              <a:gd name="connsiteY2" fmla="*/ 0 h 3249282"/>
              <a:gd name="connsiteX3" fmla="*/ 1160845 w 1957642"/>
              <a:gd name="connsiteY3" fmla="*/ 2127215 h 3249282"/>
              <a:gd name="connsiteX4" fmla="*/ 1196036 w 1957642"/>
              <a:gd name="connsiteY4" fmla="*/ 2120110 h 3249282"/>
              <a:gd name="connsiteX5" fmla="*/ 1237844 w 1957642"/>
              <a:gd name="connsiteY5" fmla="*/ 2120446 h 3249282"/>
              <a:gd name="connsiteX6" fmla="*/ 1296213 w 1957642"/>
              <a:gd name="connsiteY6" fmla="*/ 2029106 h 3249282"/>
              <a:gd name="connsiteX7" fmla="*/ 1397562 w 1957642"/>
              <a:gd name="connsiteY7" fmla="*/ 1825853 h 3249282"/>
              <a:gd name="connsiteX8" fmla="*/ 1777778 w 1957642"/>
              <a:gd name="connsiteY8" fmla="*/ 1099228 h 3249282"/>
              <a:gd name="connsiteX9" fmla="*/ 980978 w 1957642"/>
              <a:gd name="connsiteY9" fmla="*/ 301427 h 3249282"/>
              <a:gd name="connsiteX10" fmla="*/ 980978 w 1957642"/>
              <a:gd name="connsiteY10" fmla="*/ 301625 h 3249282"/>
              <a:gd name="connsiteX11" fmla="*/ 978823 w 1957642"/>
              <a:gd name="connsiteY11" fmla="*/ 301459 h 3249282"/>
              <a:gd name="connsiteX12" fmla="*/ 976666 w 1957642"/>
              <a:gd name="connsiteY12" fmla="*/ 301625 h 3249282"/>
              <a:gd name="connsiteX13" fmla="*/ 976666 w 1957642"/>
              <a:gd name="connsiteY13" fmla="*/ 301427 h 3249282"/>
              <a:gd name="connsiteX14" fmla="*/ 179865 w 1957642"/>
              <a:gd name="connsiteY14" fmla="*/ 1099228 h 3249282"/>
              <a:gd name="connsiteX15" fmla="*/ 560081 w 1957642"/>
              <a:gd name="connsiteY15" fmla="*/ 1825853 h 3249282"/>
              <a:gd name="connsiteX16" fmla="*/ 661430 w 1957642"/>
              <a:gd name="connsiteY16" fmla="*/ 2029106 h 3249282"/>
              <a:gd name="connsiteX17" fmla="*/ 719799 w 1957642"/>
              <a:gd name="connsiteY17" fmla="*/ 2120446 h 3249282"/>
              <a:gd name="connsiteX18" fmla="*/ 770760 w 1957642"/>
              <a:gd name="connsiteY18" fmla="*/ 2120037 h 3249282"/>
              <a:gd name="connsiteX19" fmla="*/ 806315 w 1957642"/>
              <a:gd name="connsiteY19" fmla="*/ 2127215 h 3249282"/>
              <a:gd name="connsiteX20" fmla="*/ 1319520 w 1957642"/>
              <a:gd name="connsiteY20" fmla="*/ 2263042 h 3249282"/>
              <a:gd name="connsiteX21" fmla="*/ 978823 w 1957642"/>
              <a:gd name="connsiteY21" fmla="*/ 2261822 h 3249282"/>
              <a:gd name="connsiteX22" fmla="*/ 638123 w 1957642"/>
              <a:gd name="connsiteY22" fmla="*/ 2263042 h 3249282"/>
              <a:gd name="connsiteX23" fmla="*/ 513100 w 1957642"/>
              <a:gd name="connsiteY23" fmla="*/ 2169534 h 3249282"/>
              <a:gd name="connsiteX24" fmla="*/ 465828 w 1957642"/>
              <a:gd name="connsiteY24" fmla="*/ 1970355 h 3249282"/>
              <a:gd name="connsiteX25" fmla="*/ 0 w 1957642"/>
              <a:gd name="connsiteY25" fmla="*/ 1080372 h 3249282"/>
              <a:gd name="connsiteX26" fmla="*/ 976988 w 1957642"/>
              <a:gd name="connsiteY26" fmla="*/ 103385 h 3249282"/>
              <a:gd name="connsiteX27" fmla="*/ 978823 w 1957642"/>
              <a:gd name="connsiteY27" fmla="*/ 103526 h 3249282"/>
              <a:gd name="connsiteX28" fmla="*/ 980656 w 1957642"/>
              <a:gd name="connsiteY28" fmla="*/ 103385 h 3249282"/>
              <a:gd name="connsiteX29" fmla="*/ 1957642 w 1957642"/>
              <a:gd name="connsiteY29" fmla="*/ 1080372 h 3249282"/>
              <a:gd name="connsiteX30" fmla="*/ 1491816 w 1957642"/>
              <a:gd name="connsiteY30" fmla="*/ 1970355 h 3249282"/>
              <a:gd name="connsiteX31" fmla="*/ 1444543 w 1957642"/>
              <a:gd name="connsiteY31" fmla="*/ 2169534 h 3249282"/>
              <a:gd name="connsiteX32" fmla="*/ 1319520 w 1957642"/>
              <a:gd name="connsiteY32" fmla="*/ 2263042 h 3249282"/>
              <a:gd name="connsiteX33" fmla="*/ 1407452 w 1957642"/>
              <a:gd name="connsiteY33" fmla="*/ 2485514 h 3249282"/>
              <a:gd name="connsiteX34" fmla="*/ 558453 w 1957642"/>
              <a:gd name="connsiteY34" fmla="*/ 2485514 h 3249282"/>
              <a:gd name="connsiteX35" fmla="*/ 491321 w 1957642"/>
              <a:gd name="connsiteY35" fmla="*/ 2418383 h 3249282"/>
              <a:gd name="connsiteX36" fmla="*/ 491321 w 1957642"/>
              <a:gd name="connsiteY36" fmla="*/ 2388750 h 3249282"/>
              <a:gd name="connsiteX37" fmla="*/ 558453 w 1957642"/>
              <a:gd name="connsiteY37" fmla="*/ 2321619 h 3249282"/>
              <a:gd name="connsiteX38" fmla="*/ 1407452 w 1957642"/>
              <a:gd name="connsiteY38" fmla="*/ 2321619 h 3249282"/>
              <a:gd name="connsiteX39" fmla="*/ 1474583 w 1957642"/>
              <a:gd name="connsiteY39" fmla="*/ 2388750 h 3249282"/>
              <a:gd name="connsiteX40" fmla="*/ 1474583 w 1957642"/>
              <a:gd name="connsiteY40" fmla="*/ 2418383 h 3249282"/>
              <a:gd name="connsiteX41" fmla="*/ 1407452 w 1957642"/>
              <a:gd name="connsiteY41" fmla="*/ 2485514 h 3249282"/>
              <a:gd name="connsiteX42" fmla="*/ 1374676 w 1957642"/>
              <a:gd name="connsiteY42" fmla="*/ 2707334 h 3249282"/>
              <a:gd name="connsiteX43" fmla="*/ 591228 w 1957642"/>
              <a:gd name="connsiteY43" fmla="*/ 2707334 h 3249282"/>
              <a:gd name="connsiteX44" fmla="*/ 524097 w 1957642"/>
              <a:gd name="connsiteY44" fmla="*/ 2640203 h 3249282"/>
              <a:gd name="connsiteX45" fmla="*/ 524097 w 1957642"/>
              <a:gd name="connsiteY45" fmla="*/ 2610570 h 3249282"/>
              <a:gd name="connsiteX46" fmla="*/ 591228 w 1957642"/>
              <a:gd name="connsiteY46" fmla="*/ 2543440 h 3249282"/>
              <a:gd name="connsiteX47" fmla="*/ 1374676 w 1957642"/>
              <a:gd name="connsiteY47" fmla="*/ 2543440 h 3249282"/>
              <a:gd name="connsiteX48" fmla="*/ 1441808 w 1957642"/>
              <a:gd name="connsiteY48" fmla="*/ 2610570 h 3249282"/>
              <a:gd name="connsiteX49" fmla="*/ 1441808 w 1957642"/>
              <a:gd name="connsiteY49" fmla="*/ 2640203 h 3249282"/>
              <a:gd name="connsiteX50" fmla="*/ 1374676 w 1957642"/>
              <a:gd name="connsiteY50" fmla="*/ 2707334 h 3249282"/>
              <a:gd name="connsiteX51" fmla="*/ 1341902 w 1957642"/>
              <a:gd name="connsiteY51" fmla="*/ 2929154 h 3249282"/>
              <a:gd name="connsiteX52" fmla="*/ 624004 w 1957642"/>
              <a:gd name="connsiteY52" fmla="*/ 2929154 h 3249282"/>
              <a:gd name="connsiteX53" fmla="*/ 556873 w 1957642"/>
              <a:gd name="connsiteY53" fmla="*/ 2862023 h 3249282"/>
              <a:gd name="connsiteX54" fmla="*/ 556873 w 1957642"/>
              <a:gd name="connsiteY54" fmla="*/ 2832390 h 3249282"/>
              <a:gd name="connsiteX55" fmla="*/ 624004 w 1957642"/>
              <a:gd name="connsiteY55" fmla="*/ 2765259 h 3249282"/>
              <a:gd name="connsiteX56" fmla="*/ 1341902 w 1957642"/>
              <a:gd name="connsiteY56" fmla="*/ 2765259 h 3249282"/>
              <a:gd name="connsiteX57" fmla="*/ 1409033 w 1957642"/>
              <a:gd name="connsiteY57" fmla="*/ 2832390 h 3249282"/>
              <a:gd name="connsiteX58" fmla="*/ 1409033 w 1957642"/>
              <a:gd name="connsiteY58" fmla="*/ 2862023 h 3249282"/>
              <a:gd name="connsiteX59" fmla="*/ 1341902 w 1957642"/>
              <a:gd name="connsiteY59" fmla="*/ 2929154 h 3249282"/>
              <a:gd name="connsiteX60" fmla="*/ 982953 w 1957642"/>
              <a:gd name="connsiteY60" fmla="*/ 3249282 h 3249282"/>
              <a:gd name="connsiteX61" fmla="*/ 622424 w 1957642"/>
              <a:gd name="connsiteY61" fmla="*/ 3118181 h 3249282"/>
              <a:gd name="connsiteX62" fmla="*/ 622424 w 1957642"/>
              <a:gd name="connsiteY62" fmla="*/ 2987080 h 3249282"/>
              <a:gd name="connsiteX63" fmla="*/ 1343482 w 1957642"/>
              <a:gd name="connsiteY63" fmla="*/ 2987080 h 3249282"/>
              <a:gd name="connsiteX64" fmla="*/ 1343482 w 1957642"/>
              <a:gd name="connsiteY64" fmla="*/ 3118181 h 3249282"/>
              <a:gd name="connsiteX65" fmla="*/ 982953 w 1957642"/>
              <a:gd name="connsiteY65" fmla="*/ 3249282 h 3249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1957642" h="3249282">
                <a:moveTo>
                  <a:pt x="1047232" y="5654"/>
                </a:moveTo>
                <a:lnTo>
                  <a:pt x="1030640" y="5654"/>
                </a:lnTo>
                <a:lnTo>
                  <a:pt x="1048024" y="0"/>
                </a:lnTo>
                <a:close/>
                <a:moveTo>
                  <a:pt x="1160845" y="2127215"/>
                </a:moveTo>
                <a:lnTo>
                  <a:pt x="1196036" y="2120110"/>
                </a:lnTo>
                <a:lnTo>
                  <a:pt x="1237844" y="2120446"/>
                </a:lnTo>
                <a:cubicBezTo>
                  <a:pt x="1308896" y="2116324"/>
                  <a:pt x="1283850" y="2108399"/>
                  <a:pt x="1296213" y="2029106"/>
                </a:cubicBezTo>
                <a:cubicBezTo>
                  <a:pt x="1327247" y="1916021"/>
                  <a:pt x="1321193" y="1914210"/>
                  <a:pt x="1397562" y="1825853"/>
                </a:cubicBezTo>
                <a:cubicBezTo>
                  <a:pt x="1565052" y="1691460"/>
                  <a:pt x="1777778" y="1397289"/>
                  <a:pt x="1777778" y="1099228"/>
                </a:cubicBezTo>
                <a:cubicBezTo>
                  <a:pt x="1777778" y="658937"/>
                  <a:pt x="1421136" y="301944"/>
                  <a:pt x="980978" y="301427"/>
                </a:cubicBezTo>
                <a:lnTo>
                  <a:pt x="980978" y="301625"/>
                </a:lnTo>
                <a:lnTo>
                  <a:pt x="978823" y="301459"/>
                </a:lnTo>
                <a:lnTo>
                  <a:pt x="976666" y="301625"/>
                </a:lnTo>
                <a:lnTo>
                  <a:pt x="976666" y="301427"/>
                </a:lnTo>
                <a:cubicBezTo>
                  <a:pt x="536507" y="301944"/>
                  <a:pt x="179865" y="658937"/>
                  <a:pt x="179865" y="1099228"/>
                </a:cubicBezTo>
                <a:cubicBezTo>
                  <a:pt x="179865" y="1397289"/>
                  <a:pt x="392591" y="1691460"/>
                  <a:pt x="560081" y="1825853"/>
                </a:cubicBezTo>
                <a:cubicBezTo>
                  <a:pt x="636451" y="1914210"/>
                  <a:pt x="630396" y="1916021"/>
                  <a:pt x="661430" y="2029106"/>
                </a:cubicBezTo>
                <a:cubicBezTo>
                  <a:pt x="673794" y="2108399"/>
                  <a:pt x="648747" y="2116324"/>
                  <a:pt x="719799" y="2120446"/>
                </a:cubicBezTo>
                <a:lnTo>
                  <a:pt x="770760" y="2120037"/>
                </a:lnTo>
                <a:lnTo>
                  <a:pt x="806315" y="2127215"/>
                </a:lnTo>
                <a:close/>
                <a:moveTo>
                  <a:pt x="1319520" y="2263042"/>
                </a:moveTo>
                <a:lnTo>
                  <a:pt x="978823" y="2261822"/>
                </a:lnTo>
                <a:lnTo>
                  <a:pt x="638123" y="2263042"/>
                </a:lnTo>
                <a:cubicBezTo>
                  <a:pt x="577778" y="2263042"/>
                  <a:pt x="547241" y="2240386"/>
                  <a:pt x="513100" y="2169534"/>
                </a:cubicBezTo>
                <a:cubicBezTo>
                  <a:pt x="499969" y="2077754"/>
                  <a:pt x="526938" y="2040759"/>
                  <a:pt x="465828" y="1970355"/>
                </a:cubicBezTo>
                <a:cubicBezTo>
                  <a:pt x="260705" y="1805868"/>
                  <a:pt x="0" y="1445504"/>
                  <a:pt x="0" y="1080372"/>
                </a:cubicBezTo>
                <a:cubicBezTo>
                  <a:pt x="0" y="540796"/>
                  <a:pt x="437413" y="103385"/>
                  <a:pt x="976988" y="103385"/>
                </a:cubicBezTo>
                <a:lnTo>
                  <a:pt x="978823" y="103526"/>
                </a:lnTo>
                <a:lnTo>
                  <a:pt x="980656" y="103385"/>
                </a:lnTo>
                <a:cubicBezTo>
                  <a:pt x="1520231" y="103385"/>
                  <a:pt x="1957642" y="540796"/>
                  <a:pt x="1957642" y="1080372"/>
                </a:cubicBezTo>
                <a:cubicBezTo>
                  <a:pt x="1957642" y="1445504"/>
                  <a:pt x="1696938" y="1805868"/>
                  <a:pt x="1491816" y="1970355"/>
                </a:cubicBezTo>
                <a:cubicBezTo>
                  <a:pt x="1430706" y="2040759"/>
                  <a:pt x="1457674" y="2077754"/>
                  <a:pt x="1444543" y="2169534"/>
                </a:cubicBezTo>
                <a:cubicBezTo>
                  <a:pt x="1410403" y="2240386"/>
                  <a:pt x="1379867" y="2263042"/>
                  <a:pt x="1319520" y="2263042"/>
                </a:cubicBezTo>
                <a:close/>
                <a:moveTo>
                  <a:pt x="1407452" y="2485514"/>
                </a:moveTo>
                <a:lnTo>
                  <a:pt x="558453" y="2485514"/>
                </a:lnTo>
                <a:cubicBezTo>
                  <a:pt x="521377" y="2485514"/>
                  <a:pt x="491321" y="2455458"/>
                  <a:pt x="491321" y="2418383"/>
                </a:cubicBezTo>
                <a:lnTo>
                  <a:pt x="491321" y="2388750"/>
                </a:lnTo>
                <a:cubicBezTo>
                  <a:pt x="491321" y="2351675"/>
                  <a:pt x="521377" y="2321619"/>
                  <a:pt x="558453" y="2321619"/>
                </a:cubicBezTo>
                <a:lnTo>
                  <a:pt x="1407452" y="2321619"/>
                </a:lnTo>
                <a:cubicBezTo>
                  <a:pt x="1444528" y="2321619"/>
                  <a:pt x="1474583" y="2351675"/>
                  <a:pt x="1474583" y="2388750"/>
                </a:cubicBezTo>
                <a:lnTo>
                  <a:pt x="1474583" y="2418383"/>
                </a:lnTo>
                <a:cubicBezTo>
                  <a:pt x="1474583" y="2455458"/>
                  <a:pt x="1444528" y="2485514"/>
                  <a:pt x="1407452" y="2485514"/>
                </a:cubicBezTo>
                <a:close/>
                <a:moveTo>
                  <a:pt x="1374676" y="2707334"/>
                </a:moveTo>
                <a:lnTo>
                  <a:pt x="591228" y="2707334"/>
                </a:lnTo>
                <a:cubicBezTo>
                  <a:pt x="554153" y="2707334"/>
                  <a:pt x="524097" y="2677278"/>
                  <a:pt x="524097" y="2640203"/>
                </a:cubicBezTo>
                <a:lnTo>
                  <a:pt x="524097" y="2610570"/>
                </a:lnTo>
                <a:cubicBezTo>
                  <a:pt x="524097" y="2573495"/>
                  <a:pt x="554153" y="2543440"/>
                  <a:pt x="591228" y="2543440"/>
                </a:cubicBezTo>
                <a:lnTo>
                  <a:pt x="1374676" y="2543440"/>
                </a:lnTo>
                <a:cubicBezTo>
                  <a:pt x="1411752" y="2543440"/>
                  <a:pt x="1441808" y="2573495"/>
                  <a:pt x="1441808" y="2610570"/>
                </a:cubicBezTo>
                <a:lnTo>
                  <a:pt x="1441808" y="2640203"/>
                </a:lnTo>
                <a:cubicBezTo>
                  <a:pt x="1441808" y="2677278"/>
                  <a:pt x="1411752" y="2707334"/>
                  <a:pt x="1374676" y="2707334"/>
                </a:cubicBezTo>
                <a:close/>
                <a:moveTo>
                  <a:pt x="1341902" y="2929154"/>
                </a:moveTo>
                <a:lnTo>
                  <a:pt x="624004" y="2929154"/>
                </a:lnTo>
                <a:cubicBezTo>
                  <a:pt x="586929" y="2929154"/>
                  <a:pt x="556873" y="2899098"/>
                  <a:pt x="556873" y="2862023"/>
                </a:cubicBezTo>
                <a:lnTo>
                  <a:pt x="556873" y="2832390"/>
                </a:lnTo>
                <a:cubicBezTo>
                  <a:pt x="556873" y="2795315"/>
                  <a:pt x="586929" y="2765259"/>
                  <a:pt x="624004" y="2765259"/>
                </a:cubicBezTo>
                <a:lnTo>
                  <a:pt x="1341902" y="2765259"/>
                </a:lnTo>
                <a:cubicBezTo>
                  <a:pt x="1378978" y="2765259"/>
                  <a:pt x="1409033" y="2795315"/>
                  <a:pt x="1409033" y="2832390"/>
                </a:cubicBezTo>
                <a:lnTo>
                  <a:pt x="1409033" y="2862023"/>
                </a:lnTo>
                <a:cubicBezTo>
                  <a:pt x="1409033" y="2899098"/>
                  <a:pt x="1378978" y="2929154"/>
                  <a:pt x="1341902" y="2929154"/>
                </a:cubicBezTo>
                <a:close/>
                <a:moveTo>
                  <a:pt x="982953" y="3249282"/>
                </a:moveTo>
                <a:cubicBezTo>
                  <a:pt x="783838" y="3249282"/>
                  <a:pt x="622424" y="3190586"/>
                  <a:pt x="622424" y="3118181"/>
                </a:cubicBezTo>
                <a:lnTo>
                  <a:pt x="622424" y="2987080"/>
                </a:lnTo>
                <a:lnTo>
                  <a:pt x="1343482" y="2987080"/>
                </a:lnTo>
                <a:lnTo>
                  <a:pt x="1343482" y="3118181"/>
                </a:lnTo>
                <a:cubicBezTo>
                  <a:pt x="1343482" y="3190586"/>
                  <a:pt x="1182068" y="3249282"/>
                  <a:pt x="982953" y="3249282"/>
                </a:cubicBezTo>
                <a:close/>
              </a:path>
            </a:pathLst>
          </a:cu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2562471-A2B8-40D2-B357-0644D7DDE95A}"/>
              </a:ext>
            </a:extLst>
          </p:cNvPr>
          <p:cNvSpPr/>
          <p:nvPr/>
        </p:nvSpPr>
        <p:spPr>
          <a:xfrm>
            <a:off x="8155439" y="1787646"/>
            <a:ext cx="45719" cy="8229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B05FA20-E8BA-4C8A-B60E-E5A4E6EEF908}"/>
              </a:ext>
            </a:extLst>
          </p:cNvPr>
          <p:cNvGrpSpPr/>
          <p:nvPr/>
        </p:nvGrpSpPr>
        <p:grpSpPr>
          <a:xfrm>
            <a:off x="7248890" y="4239238"/>
            <a:ext cx="1958535" cy="1648529"/>
            <a:chOff x="2506676" y="1766707"/>
            <a:chExt cx="1715406" cy="164852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E0E37D8-1752-45E1-A605-340F08AA93F4}"/>
                </a:ext>
              </a:extLst>
            </p:cNvPr>
            <p:cNvSpPr txBox="1"/>
            <p:nvPr/>
          </p:nvSpPr>
          <p:spPr>
            <a:xfrm>
              <a:off x="2506676" y="2214907"/>
              <a:ext cx="1715406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Innovative re-use and recycle opportunities either with the bus operator or independently  (taking on battery RV risk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ko-KR" sz="1200" b="0" i="0" u="none" strike="noStrike" kern="1200" cap="none" spc="0" normalizeH="0" baseline="0" noProof="0" dirty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C767982-6FA0-486F-AF97-6478C926057C}"/>
                </a:ext>
              </a:extLst>
            </p:cNvPr>
            <p:cNvSpPr txBox="1"/>
            <p:nvPr/>
          </p:nvSpPr>
          <p:spPr>
            <a:xfrm>
              <a:off x="2590200" y="1766707"/>
              <a:ext cx="1548359" cy="46166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Secondary battery management 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</p:grpSp>
      <p:sp>
        <p:nvSpPr>
          <p:cNvPr id="21" name="자유형: 도형 69">
            <a:extLst>
              <a:ext uri="{FF2B5EF4-FFF2-40B4-BE49-F238E27FC236}">
                <a16:creationId xmlns:a16="http://schemas.microsoft.com/office/drawing/2014/main" id="{F0F64EAA-6326-411D-B9F1-E4AAAB2A37D7}"/>
              </a:ext>
            </a:extLst>
          </p:cNvPr>
          <p:cNvSpPr>
            <a:spLocks noChangeAspect="1"/>
          </p:cNvSpPr>
          <p:nvPr/>
        </p:nvSpPr>
        <p:spPr>
          <a:xfrm rot="10800000">
            <a:off x="7726011" y="2562980"/>
            <a:ext cx="904573" cy="1501406"/>
          </a:xfrm>
          <a:custGeom>
            <a:avLst/>
            <a:gdLst>
              <a:gd name="connsiteX0" fmla="*/ 1047232 w 1957642"/>
              <a:gd name="connsiteY0" fmla="*/ 5654 h 3249282"/>
              <a:gd name="connsiteX1" fmla="*/ 1030640 w 1957642"/>
              <a:gd name="connsiteY1" fmla="*/ 5654 h 3249282"/>
              <a:gd name="connsiteX2" fmla="*/ 1048024 w 1957642"/>
              <a:gd name="connsiteY2" fmla="*/ 0 h 3249282"/>
              <a:gd name="connsiteX3" fmla="*/ 1160845 w 1957642"/>
              <a:gd name="connsiteY3" fmla="*/ 2127215 h 3249282"/>
              <a:gd name="connsiteX4" fmla="*/ 1196036 w 1957642"/>
              <a:gd name="connsiteY4" fmla="*/ 2120110 h 3249282"/>
              <a:gd name="connsiteX5" fmla="*/ 1237844 w 1957642"/>
              <a:gd name="connsiteY5" fmla="*/ 2120446 h 3249282"/>
              <a:gd name="connsiteX6" fmla="*/ 1296213 w 1957642"/>
              <a:gd name="connsiteY6" fmla="*/ 2029106 h 3249282"/>
              <a:gd name="connsiteX7" fmla="*/ 1397562 w 1957642"/>
              <a:gd name="connsiteY7" fmla="*/ 1825853 h 3249282"/>
              <a:gd name="connsiteX8" fmla="*/ 1777778 w 1957642"/>
              <a:gd name="connsiteY8" fmla="*/ 1099228 h 3249282"/>
              <a:gd name="connsiteX9" fmla="*/ 980978 w 1957642"/>
              <a:gd name="connsiteY9" fmla="*/ 301427 h 3249282"/>
              <a:gd name="connsiteX10" fmla="*/ 980978 w 1957642"/>
              <a:gd name="connsiteY10" fmla="*/ 301625 h 3249282"/>
              <a:gd name="connsiteX11" fmla="*/ 978823 w 1957642"/>
              <a:gd name="connsiteY11" fmla="*/ 301459 h 3249282"/>
              <a:gd name="connsiteX12" fmla="*/ 976666 w 1957642"/>
              <a:gd name="connsiteY12" fmla="*/ 301625 h 3249282"/>
              <a:gd name="connsiteX13" fmla="*/ 976666 w 1957642"/>
              <a:gd name="connsiteY13" fmla="*/ 301427 h 3249282"/>
              <a:gd name="connsiteX14" fmla="*/ 179865 w 1957642"/>
              <a:gd name="connsiteY14" fmla="*/ 1099228 h 3249282"/>
              <a:gd name="connsiteX15" fmla="*/ 560081 w 1957642"/>
              <a:gd name="connsiteY15" fmla="*/ 1825853 h 3249282"/>
              <a:gd name="connsiteX16" fmla="*/ 661430 w 1957642"/>
              <a:gd name="connsiteY16" fmla="*/ 2029106 h 3249282"/>
              <a:gd name="connsiteX17" fmla="*/ 719799 w 1957642"/>
              <a:gd name="connsiteY17" fmla="*/ 2120446 h 3249282"/>
              <a:gd name="connsiteX18" fmla="*/ 770760 w 1957642"/>
              <a:gd name="connsiteY18" fmla="*/ 2120037 h 3249282"/>
              <a:gd name="connsiteX19" fmla="*/ 806315 w 1957642"/>
              <a:gd name="connsiteY19" fmla="*/ 2127215 h 3249282"/>
              <a:gd name="connsiteX20" fmla="*/ 1319520 w 1957642"/>
              <a:gd name="connsiteY20" fmla="*/ 2263042 h 3249282"/>
              <a:gd name="connsiteX21" fmla="*/ 978823 w 1957642"/>
              <a:gd name="connsiteY21" fmla="*/ 2261822 h 3249282"/>
              <a:gd name="connsiteX22" fmla="*/ 638123 w 1957642"/>
              <a:gd name="connsiteY22" fmla="*/ 2263042 h 3249282"/>
              <a:gd name="connsiteX23" fmla="*/ 513100 w 1957642"/>
              <a:gd name="connsiteY23" fmla="*/ 2169534 h 3249282"/>
              <a:gd name="connsiteX24" fmla="*/ 465828 w 1957642"/>
              <a:gd name="connsiteY24" fmla="*/ 1970355 h 3249282"/>
              <a:gd name="connsiteX25" fmla="*/ 0 w 1957642"/>
              <a:gd name="connsiteY25" fmla="*/ 1080372 h 3249282"/>
              <a:gd name="connsiteX26" fmla="*/ 976988 w 1957642"/>
              <a:gd name="connsiteY26" fmla="*/ 103385 h 3249282"/>
              <a:gd name="connsiteX27" fmla="*/ 978823 w 1957642"/>
              <a:gd name="connsiteY27" fmla="*/ 103526 h 3249282"/>
              <a:gd name="connsiteX28" fmla="*/ 980656 w 1957642"/>
              <a:gd name="connsiteY28" fmla="*/ 103385 h 3249282"/>
              <a:gd name="connsiteX29" fmla="*/ 1957642 w 1957642"/>
              <a:gd name="connsiteY29" fmla="*/ 1080372 h 3249282"/>
              <a:gd name="connsiteX30" fmla="*/ 1491816 w 1957642"/>
              <a:gd name="connsiteY30" fmla="*/ 1970355 h 3249282"/>
              <a:gd name="connsiteX31" fmla="*/ 1444543 w 1957642"/>
              <a:gd name="connsiteY31" fmla="*/ 2169534 h 3249282"/>
              <a:gd name="connsiteX32" fmla="*/ 1319520 w 1957642"/>
              <a:gd name="connsiteY32" fmla="*/ 2263042 h 3249282"/>
              <a:gd name="connsiteX33" fmla="*/ 1407452 w 1957642"/>
              <a:gd name="connsiteY33" fmla="*/ 2485514 h 3249282"/>
              <a:gd name="connsiteX34" fmla="*/ 558453 w 1957642"/>
              <a:gd name="connsiteY34" fmla="*/ 2485514 h 3249282"/>
              <a:gd name="connsiteX35" fmla="*/ 491321 w 1957642"/>
              <a:gd name="connsiteY35" fmla="*/ 2418383 h 3249282"/>
              <a:gd name="connsiteX36" fmla="*/ 491321 w 1957642"/>
              <a:gd name="connsiteY36" fmla="*/ 2388750 h 3249282"/>
              <a:gd name="connsiteX37" fmla="*/ 558453 w 1957642"/>
              <a:gd name="connsiteY37" fmla="*/ 2321619 h 3249282"/>
              <a:gd name="connsiteX38" fmla="*/ 1407452 w 1957642"/>
              <a:gd name="connsiteY38" fmla="*/ 2321619 h 3249282"/>
              <a:gd name="connsiteX39" fmla="*/ 1474583 w 1957642"/>
              <a:gd name="connsiteY39" fmla="*/ 2388750 h 3249282"/>
              <a:gd name="connsiteX40" fmla="*/ 1474583 w 1957642"/>
              <a:gd name="connsiteY40" fmla="*/ 2418383 h 3249282"/>
              <a:gd name="connsiteX41" fmla="*/ 1407452 w 1957642"/>
              <a:gd name="connsiteY41" fmla="*/ 2485514 h 3249282"/>
              <a:gd name="connsiteX42" fmla="*/ 1374676 w 1957642"/>
              <a:gd name="connsiteY42" fmla="*/ 2707334 h 3249282"/>
              <a:gd name="connsiteX43" fmla="*/ 591228 w 1957642"/>
              <a:gd name="connsiteY43" fmla="*/ 2707334 h 3249282"/>
              <a:gd name="connsiteX44" fmla="*/ 524097 w 1957642"/>
              <a:gd name="connsiteY44" fmla="*/ 2640203 h 3249282"/>
              <a:gd name="connsiteX45" fmla="*/ 524097 w 1957642"/>
              <a:gd name="connsiteY45" fmla="*/ 2610570 h 3249282"/>
              <a:gd name="connsiteX46" fmla="*/ 591228 w 1957642"/>
              <a:gd name="connsiteY46" fmla="*/ 2543440 h 3249282"/>
              <a:gd name="connsiteX47" fmla="*/ 1374676 w 1957642"/>
              <a:gd name="connsiteY47" fmla="*/ 2543440 h 3249282"/>
              <a:gd name="connsiteX48" fmla="*/ 1441808 w 1957642"/>
              <a:gd name="connsiteY48" fmla="*/ 2610570 h 3249282"/>
              <a:gd name="connsiteX49" fmla="*/ 1441808 w 1957642"/>
              <a:gd name="connsiteY49" fmla="*/ 2640203 h 3249282"/>
              <a:gd name="connsiteX50" fmla="*/ 1374676 w 1957642"/>
              <a:gd name="connsiteY50" fmla="*/ 2707334 h 3249282"/>
              <a:gd name="connsiteX51" fmla="*/ 1341902 w 1957642"/>
              <a:gd name="connsiteY51" fmla="*/ 2929154 h 3249282"/>
              <a:gd name="connsiteX52" fmla="*/ 624004 w 1957642"/>
              <a:gd name="connsiteY52" fmla="*/ 2929154 h 3249282"/>
              <a:gd name="connsiteX53" fmla="*/ 556873 w 1957642"/>
              <a:gd name="connsiteY53" fmla="*/ 2862023 h 3249282"/>
              <a:gd name="connsiteX54" fmla="*/ 556873 w 1957642"/>
              <a:gd name="connsiteY54" fmla="*/ 2832390 h 3249282"/>
              <a:gd name="connsiteX55" fmla="*/ 624004 w 1957642"/>
              <a:gd name="connsiteY55" fmla="*/ 2765259 h 3249282"/>
              <a:gd name="connsiteX56" fmla="*/ 1341902 w 1957642"/>
              <a:gd name="connsiteY56" fmla="*/ 2765259 h 3249282"/>
              <a:gd name="connsiteX57" fmla="*/ 1409033 w 1957642"/>
              <a:gd name="connsiteY57" fmla="*/ 2832390 h 3249282"/>
              <a:gd name="connsiteX58" fmla="*/ 1409033 w 1957642"/>
              <a:gd name="connsiteY58" fmla="*/ 2862023 h 3249282"/>
              <a:gd name="connsiteX59" fmla="*/ 1341902 w 1957642"/>
              <a:gd name="connsiteY59" fmla="*/ 2929154 h 3249282"/>
              <a:gd name="connsiteX60" fmla="*/ 982953 w 1957642"/>
              <a:gd name="connsiteY60" fmla="*/ 3249282 h 3249282"/>
              <a:gd name="connsiteX61" fmla="*/ 622424 w 1957642"/>
              <a:gd name="connsiteY61" fmla="*/ 3118181 h 3249282"/>
              <a:gd name="connsiteX62" fmla="*/ 622424 w 1957642"/>
              <a:gd name="connsiteY62" fmla="*/ 2987080 h 3249282"/>
              <a:gd name="connsiteX63" fmla="*/ 1343482 w 1957642"/>
              <a:gd name="connsiteY63" fmla="*/ 2987080 h 3249282"/>
              <a:gd name="connsiteX64" fmla="*/ 1343482 w 1957642"/>
              <a:gd name="connsiteY64" fmla="*/ 3118181 h 3249282"/>
              <a:gd name="connsiteX65" fmla="*/ 982953 w 1957642"/>
              <a:gd name="connsiteY65" fmla="*/ 3249282 h 3249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1957642" h="3249282">
                <a:moveTo>
                  <a:pt x="1047232" y="5654"/>
                </a:moveTo>
                <a:lnTo>
                  <a:pt x="1030640" y="5654"/>
                </a:lnTo>
                <a:lnTo>
                  <a:pt x="1048024" y="0"/>
                </a:lnTo>
                <a:close/>
                <a:moveTo>
                  <a:pt x="1160845" y="2127215"/>
                </a:moveTo>
                <a:lnTo>
                  <a:pt x="1196036" y="2120110"/>
                </a:lnTo>
                <a:lnTo>
                  <a:pt x="1237844" y="2120446"/>
                </a:lnTo>
                <a:cubicBezTo>
                  <a:pt x="1308896" y="2116324"/>
                  <a:pt x="1283850" y="2108399"/>
                  <a:pt x="1296213" y="2029106"/>
                </a:cubicBezTo>
                <a:cubicBezTo>
                  <a:pt x="1327247" y="1916021"/>
                  <a:pt x="1321193" y="1914210"/>
                  <a:pt x="1397562" y="1825853"/>
                </a:cubicBezTo>
                <a:cubicBezTo>
                  <a:pt x="1565052" y="1691460"/>
                  <a:pt x="1777778" y="1397289"/>
                  <a:pt x="1777778" y="1099228"/>
                </a:cubicBezTo>
                <a:cubicBezTo>
                  <a:pt x="1777778" y="658937"/>
                  <a:pt x="1421136" y="301944"/>
                  <a:pt x="980978" y="301427"/>
                </a:cubicBezTo>
                <a:lnTo>
                  <a:pt x="980978" y="301625"/>
                </a:lnTo>
                <a:lnTo>
                  <a:pt x="978823" y="301459"/>
                </a:lnTo>
                <a:lnTo>
                  <a:pt x="976666" y="301625"/>
                </a:lnTo>
                <a:lnTo>
                  <a:pt x="976666" y="301427"/>
                </a:lnTo>
                <a:cubicBezTo>
                  <a:pt x="536507" y="301944"/>
                  <a:pt x="179865" y="658937"/>
                  <a:pt x="179865" y="1099228"/>
                </a:cubicBezTo>
                <a:cubicBezTo>
                  <a:pt x="179865" y="1397289"/>
                  <a:pt x="392591" y="1691460"/>
                  <a:pt x="560081" y="1825853"/>
                </a:cubicBezTo>
                <a:cubicBezTo>
                  <a:pt x="636451" y="1914210"/>
                  <a:pt x="630396" y="1916021"/>
                  <a:pt x="661430" y="2029106"/>
                </a:cubicBezTo>
                <a:cubicBezTo>
                  <a:pt x="673794" y="2108399"/>
                  <a:pt x="648747" y="2116324"/>
                  <a:pt x="719799" y="2120446"/>
                </a:cubicBezTo>
                <a:lnTo>
                  <a:pt x="770760" y="2120037"/>
                </a:lnTo>
                <a:lnTo>
                  <a:pt x="806315" y="2127215"/>
                </a:lnTo>
                <a:close/>
                <a:moveTo>
                  <a:pt x="1319520" y="2263042"/>
                </a:moveTo>
                <a:lnTo>
                  <a:pt x="978823" y="2261822"/>
                </a:lnTo>
                <a:lnTo>
                  <a:pt x="638123" y="2263042"/>
                </a:lnTo>
                <a:cubicBezTo>
                  <a:pt x="577778" y="2263042"/>
                  <a:pt x="547241" y="2240386"/>
                  <a:pt x="513100" y="2169534"/>
                </a:cubicBezTo>
                <a:cubicBezTo>
                  <a:pt x="499969" y="2077754"/>
                  <a:pt x="526938" y="2040759"/>
                  <a:pt x="465828" y="1970355"/>
                </a:cubicBezTo>
                <a:cubicBezTo>
                  <a:pt x="260705" y="1805868"/>
                  <a:pt x="0" y="1445504"/>
                  <a:pt x="0" y="1080372"/>
                </a:cubicBezTo>
                <a:cubicBezTo>
                  <a:pt x="0" y="540796"/>
                  <a:pt x="437413" y="103385"/>
                  <a:pt x="976988" y="103385"/>
                </a:cubicBezTo>
                <a:lnTo>
                  <a:pt x="978823" y="103526"/>
                </a:lnTo>
                <a:lnTo>
                  <a:pt x="980656" y="103385"/>
                </a:lnTo>
                <a:cubicBezTo>
                  <a:pt x="1520231" y="103385"/>
                  <a:pt x="1957642" y="540796"/>
                  <a:pt x="1957642" y="1080372"/>
                </a:cubicBezTo>
                <a:cubicBezTo>
                  <a:pt x="1957642" y="1445504"/>
                  <a:pt x="1696938" y="1805868"/>
                  <a:pt x="1491816" y="1970355"/>
                </a:cubicBezTo>
                <a:cubicBezTo>
                  <a:pt x="1430706" y="2040759"/>
                  <a:pt x="1457674" y="2077754"/>
                  <a:pt x="1444543" y="2169534"/>
                </a:cubicBezTo>
                <a:cubicBezTo>
                  <a:pt x="1410403" y="2240386"/>
                  <a:pt x="1379867" y="2263042"/>
                  <a:pt x="1319520" y="2263042"/>
                </a:cubicBezTo>
                <a:close/>
                <a:moveTo>
                  <a:pt x="1407452" y="2485514"/>
                </a:moveTo>
                <a:lnTo>
                  <a:pt x="558453" y="2485514"/>
                </a:lnTo>
                <a:cubicBezTo>
                  <a:pt x="521377" y="2485514"/>
                  <a:pt x="491321" y="2455458"/>
                  <a:pt x="491321" y="2418383"/>
                </a:cubicBezTo>
                <a:lnTo>
                  <a:pt x="491321" y="2388750"/>
                </a:lnTo>
                <a:cubicBezTo>
                  <a:pt x="491321" y="2351675"/>
                  <a:pt x="521377" y="2321619"/>
                  <a:pt x="558453" y="2321619"/>
                </a:cubicBezTo>
                <a:lnTo>
                  <a:pt x="1407452" y="2321619"/>
                </a:lnTo>
                <a:cubicBezTo>
                  <a:pt x="1444528" y="2321619"/>
                  <a:pt x="1474583" y="2351675"/>
                  <a:pt x="1474583" y="2388750"/>
                </a:cubicBezTo>
                <a:lnTo>
                  <a:pt x="1474583" y="2418383"/>
                </a:lnTo>
                <a:cubicBezTo>
                  <a:pt x="1474583" y="2455458"/>
                  <a:pt x="1444528" y="2485514"/>
                  <a:pt x="1407452" y="2485514"/>
                </a:cubicBezTo>
                <a:close/>
                <a:moveTo>
                  <a:pt x="1374676" y="2707334"/>
                </a:moveTo>
                <a:lnTo>
                  <a:pt x="591228" y="2707334"/>
                </a:lnTo>
                <a:cubicBezTo>
                  <a:pt x="554153" y="2707334"/>
                  <a:pt x="524097" y="2677278"/>
                  <a:pt x="524097" y="2640203"/>
                </a:cubicBezTo>
                <a:lnTo>
                  <a:pt x="524097" y="2610570"/>
                </a:lnTo>
                <a:cubicBezTo>
                  <a:pt x="524097" y="2573495"/>
                  <a:pt x="554153" y="2543440"/>
                  <a:pt x="591228" y="2543440"/>
                </a:cubicBezTo>
                <a:lnTo>
                  <a:pt x="1374676" y="2543440"/>
                </a:lnTo>
                <a:cubicBezTo>
                  <a:pt x="1411752" y="2543440"/>
                  <a:pt x="1441808" y="2573495"/>
                  <a:pt x="1441808" y="2610570"/>
                </a:cubicBezTo>
                <a:lnTo>
                  <a:pt x="1441808" y="2640203"/>
                </a:lnTo>
                <a:cubicBezTo>
                  <a:pt x="1441808" y="2677278"/>
                  <a:pt x="1411752" y="2707334"/>
                  <a:pt x="1374676" y="2707334"/>
                </a:cubicBezTo>
                <a:close/>
                <a:moveTo>
                  <a:pt x="1341902" y="2929154"/>
                </a:moveTo>
                <a:lnTo>
                  <a:pt x="624004" y="2929154"/>
                </a:lnTo>
                <a:cubicBezTo>
                  <a:pt x="586929" y="2929154"/>
                  <a:pt x="556873" y="2899098"/>
                  <a:pt x="556873" y="2862023"/>
                </a:cubicBezTo>
                <a:lnTo>
                  <a:pt x="556873" y="2832390"/>
                </a:lnTo>
                <a:cubicBezTo>
                  <a:pt x="556873" y="2795315"/>
                  <a:pt x="586929" y="2765259"/>
                  <a:pt x="624004" y="2765259"/>
                </a:cubicBezTo>
                <a:lnTo>
                  <a:pt x="1341902" y="2765259"/>
                </a:lnTo>
                <a:cubicBezTo>
                  <a:pt x="1378978" y="2765259"/>
                  <a:pt x="1409033" y="2795315"/>
                  <a:pt x="1409033" y="2832390"/>
                </a:cubicBezTo>
                <a:lnTo>
                  <a:pt x="1409033" y="2862023"/>
                </a:lnTo>
                <a:cubicBezTo>
                  <a:pt x="1409033" y="2899098"/>
                  <a:pt x="1378978" y="2929154"/>
                  <a:pt x="1341902" y="2929154"/>
                </a:cubicBezTo>
                <a:close/>
                <a:moveTo>
                  <a:pt x="982953" y="3249282"/>
                </a:moveTo>
                <a:cubicBezTo>
                  <a:pt x="783838" y="3249282"/>
                  <a:pt x="622424" y="3190586"/>
                  <a:pt x="622424" y="3118181"/>
                </a:cubicBezTo>
                <a:lnTo>
                  <a:pt x="622424" y="2987080"/>
                </a:lnTo>
                <a:lnTo>
                  <a:pt x="1343482" y="2987080"/>
                </a:lnTo>
                <a:lnTo>
                  <a:pt x="1343482" y="3118181"/>
                </a:lnTo>
                <a:cubicBezTo>
                  <a:pt x="1343482" y="3190586"/>
                  <a:pt x="1182068" y="3249282"/>
                  <a:pt x="982953" y="3249282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382408F-881D-49AE-9DC2-2AC22549A811}"/>
              </a:ext>
            </a:extLst>
          </p:cNvPr>
          <p:cNvSpPr txBox="1"/>
          <p:nvPr/>
        </p:nvSpPr>
        <p:spPr>
          <a:xfrm>
            <a:off x="146580" y="18412"/>
            <a:ext cx="966944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all" spc="0" normalizeH="0" baseline="0">
                <a:ln w="6350" cap="flat">
                  <a:noFill/>
                  <a:miter lim="800000"/>
                </a:ln>
                <a:solidFill>
                  <a:srgbClr val="BABABA"/>
                </a:solidFill>
                <a:effectLst/>
                <a:uLnTx/>
                <a:uFillTx/>
                <a:latin typeface="Arial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ko-KR" sz="1800" b="1" i="0" u="none" strike="noStrike" kern="1200" cap="all" spc="0" normalizeH="0" baseline="0" noProof="0" dirty="0">
                <a:ln w="6350" cap="flat">
                  <a:noFill/>
                  <a:miter lim="800000"/>
                </a:ln>
                <a:solidFill>
                  <a:srgbClr val="BABABA"/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+mn-cs"/>
              </a:rPr>
              <a:t>Turning the decarbonisation challenge into an opportunity for all bus operators</a:t>
            </a:r>
            <a:endParaRPr kumimoji="0" lang="en-US" sz="1800" b="1" i="0" u="none" strike="noStrike" kern="1200" cap="all" spc="0" normalizeH="0" baseline="0" noProof="0" dirty="0">
              <a:ln w="6350" cap="flat">
                <a:noFill/>
                <a:miter lim="800000"/>
              </a:ln>
              <a:solidFill>
                <a:srgbClr val="BABABA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862300E-C6CF-4488-815A-77445B4FA63D}"/>
              </a:ext>
            </a:extLst>
          </p:cNvPr>
          <p:cNvSpPr/>
          <p:nvPr/>
        </p:nvSpPr>
        <p:spPr>
          <a:xfrm>
            <a:off x="10348681" y="1787646"/>
            <a:ext cx="45719" cy="8229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1B01501-421E-4E4C-ABF2-23C0268D1C93}"/>
              </a:ext>
            </a:extLst>
          </p:cNvPr>
          <p:cNvGrpSpPr/>
          <p:nvPr/>
        </p:nvGrpSpPr>
        <p:grpSpPr>
          <a:xfrm>
            <a:off x="9352650" y="4252163"/>
            <a:ext cx="2093520" cy="1464719"/>
            <a:chOff x="2428301" y="1779632"/>
            <a:chExt cx="1833634" cy="1464719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A9A5E24-9258-403B-9DA0-097E6A499E59}"/>
                </a:ext>
              </a:extLst>
            </p:cNvPr>
            <p:cNvSpPr txBox="1"/>
            <p:nvPr/>
          </p:nvSpPr>
          <p:spPr>
            <a:xfrm>
              <a:off x="2550622" y="2228688"/>
              <a:ext cx="154017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Generating new revenue streams by sharing available charge points to other fleet operators  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56F6838-D551-4D48-9EB3-0CD223956682}"/>
                </a:ext>
              </a:extLst>
            </p:cNvPr>
            <p:cNvSpPr txBox="1"/>
            <p:nvPr/>
          </p:nvSpPr>
          <p:spPr>
            <a:xfrm>
              <a:off x="2428301" y="1779632"/>
              <a:ext cx="1833634" cy="461665"/>
            </a:xfrm>
            <a:prstGeom prst="rect">
              <a:avLst/>
            </a:prstGeom>
            <a:noFill/>
          </p:spPr>
          <p:txBody>
            <a:bodyPr wrap="square" lIns="108000" rIns="10800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2</a:t>
              </a:r>
              <a:r>
                <a:rPr kumimoji="0" lang="en-US" altLang="ko-KR" sz="1200" b="1" i="0" u="none" strike="noStrike" kern="1200" cap="none" spc="0" normalizeH="0" baseline="3000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nd</a:t>
              </a: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 and 3</a:t>
              </a:r>
              <a:r>
                <a:rPr kumimoji="0" lang="en-US" altLang="ko-KR" sz="1200" b="1" i="0" u="none" strike="noStrike" kern="1200" cap="none" spc="0" normalizeH="0" baseline="3000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rd</a:t>
              </a: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 Party charging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ko-KR" sz="1200" b="1" i="0" u="none" strike="noStrike" kern="1200" cap="none" spc="0" normalizeH="0" baseline="0" noProof="0">
                  <a:ln>
                    <a:noFill/>
                  </a:ln>
                  <a:solidFill>
                    <a:srgbClr val="141313">
                      <a:lumMod val="95000"/>
                      <a:lumOff val="5000"/>
                    </a:srgbClr>
                  </a:solidFill>
                  <a:effectLst/>
                  <a:uLnTx/>
                  <a:uFillTx/>
                  <a:latin typeface="Arial"/>
                  <a:ea typeface="굴림" panose="020B0600000101010101" pitchFamily="34" charset="-127"/>
                  <a:cs typeface="Arial" pitchFamily="34" charset="0"/>
                </a:rPr>
                <a:t>solution</a:t>
              </a:r>
              <a:endParaRPr kumimoji="0" lang="ko-KR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141313">
                    <a:lumMod val="95000"/>
                    <a:lumOff val="5000"/>
                  </a:srgbClr>
                </a:solidFill>
                <a:effectLst/>
                <a:uLnTx/>
                <a:uFillTx/>
                <a:latin typeface="Arial"/>
                <a:ea typeface="굴림" panose="020B0600000101010101" pitchFamily="34" charset="-127"/>
                <a:cs typeface="Arial" pitchFamily="34" charset="0"/>
              </a:endParaRPr>
            </a:p>
          </p:txBody>
        </p:sp>
      </p:grpSp>
      <p:sp>
        <p:nvSpPr>
          <p:cNvPr id="27" name="자유형: 도형 69">
            <a:extLst>
              <a:ext uri="{FF2B5EF4-FFF2-40B4-BE49-F238E27FC236}">
                <a16:creationId xmlns:a16="http://schemas.microsoft.com/office/drawing/2014/main" id="{49BC108B-9773-4271-A76C-44788C82B1C9}"/>
              </a:ext>
            </a:extLst>
          </p:cNvPr>
          <p:cNvSpPr>
            <a:spLocks noChangeAspect="1"/>
          </p:cNvSpPr>
          <p:nvPr/>
        </p:nvSpPr>
        <p:spPr>
          <a:xfrm rot="10800000">
            <a:off x="9919253" y="2562980"/>
            <a:ext cx="904573" cy="1501406"/>
          </a:xfrm>
          <a:custGeom>
            <a:avLst/>
            <a:gdLst>
              <a:gd name="connsiteX0" fmla="*/ 1047232 w 1957642"/>
              <a:gd name="connsiteY0" fmla="*/ 5654 h 3249282"/>
              <a:gd name="connsiteX1" fmla="*/ 1030640 w 1957642"/>
              <a:gd name="connsiteY1" fmla="*/ 5654 h 3249282"/>
              <a:gd name="connsiteX2" fmla="*/ 1048024 w 1957642"/>
              <a:gd name="connsiteY2" fmla="*/ 0 h 3249282"/>
              <a:gd name="connsiteX3" fmla="*/ 1160845 w 1957642"/>
              <a:gd name="connsiteY3" fmla="*/ 2127215 h 3249282"/>
              <a:gd name="connsiteX4" fmla="*/ 1196036 w 1957642"/>
              <a:gd name="connsiteY4" fmla="*/ 2120110 h 3249282"/>
              <a:gd name="connsiteX5" fmla="*/ 1237844 w 1957642"/>
              <a:gd name="connsiteY5" fmla="*/ 2120446 h 3249282"/>
              <a:gd name="connsiteX6" fmla="*/ 1296213 w 1957642"/>
              <a:gd name="connsiteY6" fmla="*/ 2029106 h 3249282"/>
              <a:gd name="connsiteX7" fmla="*/ 1397562 w 1957642"/>
              <a:gd name="connsiteY7" fmla="*/ 1825853 h 3249282"/>
              <a:gd name="connsiteX8" fmla="*/ 1777778 w 1957642"/>
              <a:gd name="connsiteY8" fmla="*/ 1099228 h 3249282"/>
              <a:gd name="connsiteX9" fmla="*/ 980978 w 1957642"/>
              <a:gd name="connsiteY9" fmla="*/ 301427 h 3249282"/>
              <a:gd name="connsiteX10" fmla="*/ 980978 w 1957642"/>
              <a:gd name="connsiteY10" fmla="*/ 301625 h 3249282"/>
              <a:gd name="connsiteX11" fmla="*/ 978823 w 1957642"/>
              <a:gd name="connsiteY11" fmla="*/ 301459 h 3249282"/>
              <a:gd name="connsiteX12" fmla="*/ 976666 w 1957642"/>
              <a:gd name="connsiteY12" fmla="*/ 301625 h 3249282"/>
              <a:gd name="connsiteX13" fmla="*/ 976666 w 1957642"/>
              <a:gd name="connsiteY13" fmla="*/ 301427 h 3249282"/>
              <a:gd name="connsiteX14" fmla="*/ 179865 w 1957642"/>
              <a:gd name="connsiteY14" fmla="*/ 1099228 h 3249282"/>
              <a:gd name="connsiteX15" fmla="*/ 560081 w 1957642"/>
              <a:gd name="connsiteY15" fmla="*/ 1825853 h 3249282"/>
              <a:gd name="connsiteX16" fmla="*/ 661430 w 1957642"/>
              <a:gd name="connsiteY16" fmla="*/ 2029106 h 3249282"/>
              <a:gd name="connsiteX17" fmla="*/ 719799 w 1957642"/>
              <a:gd name="connsiteY17" fmla="*/ 2120446 h 3249282"/>
              <a:gd name="connsiteX18" fmla="*/ 770760 w 1957642"/>
              <a:gd name="connsiteY18" fmla="*/ 2120037 h 3249282"/>
              <a:gd name="connsiteX19" fmla="*/ 806315 w 1957642"/>
              <a:gd name="connsiteY19" fmla="*/ 2127215 h 3249282"/>
              <a:gd name="connsiteX20" fmla="*/ 1319520 w 1957642"/>
              <a:gd name="connsiteY20" fmla="*/ 2263042 h 3249282"/>
              <a:gd name="connsiteX21" fmla="*/ 978823 w 1957642"/>
              <a:gd name="connsiteY21" fmla="*/ 2261822 h 3249282"/>
              <a:gd name="connsiteX22" fmla="*/ 638123 w 1957642"/>
              <a:gd name="connsiteY22" fmla="*/ 2263042 h 3249282"/>
              <a:gd name="connsiteX23" fmla="*/ 513100 w 1957642"/>
              <a:gd name="connsiteY23" fmla="*/ 2169534 h 3249282"/>
              <a:gd name="connsiteX24" fmla="*/ 465828 w 1957642"/>
              <a:gd name="connsiteY24" fmla="*/ 1970355 h 3249282"/>
              <a:gd name="connsiteX25" fmla="*/ 0 w 1957642"/>
              <a:gd name="connsiteY25" fmla="*/ 1080372 h 3249282"/>
              <a:gd name="connsiteX26" fmla="*/ 976988 w 1957642"/>
              <a:gd name="connsiteY26" fmla="*/ 103385 h 3249282"/>
              <a:gd name="connsiteX27" fmla="*/ 978823 w 1957642"/>
              <a:gd name="connsiteY27" fmla="*/ 103526 h 3249282"/>
              <a:gd name="connsiteX28" fmla="*/ 980656 w 1957642"/>
              <a:gd name="connsiteY28" fmla="*/ 103385 h 3249282"/>
              <a:gd name="connsiteX29" fmla="*/ 1957642 w 1957642"/>
              <a:gd name="connsiteY29" fmla="*/ 1080372 h 3249282"/>
              <a:gd name="connsiteX30" fmla="*/ 1491816 w 1957642"/>
              <a:gd name="connsiteY30" fmla="*/ 1970355 h 3249282"/>
              <a:gd name="connsiteX31" fmla="*/ 1444543 w 1957642"/>
              <a:gd name="connsiteY31" fmla="*/ 2169534 h 3249282"/>
              <a:gd name="connsiteX32" fmla="*/ 1319520 w 1957642"/>
              <a:gd name="connsiteY32" fmla="*/ 2263042 h 3249282"/>
              <a:gd name="connsiteX33" fmla="*/ 1407452 w 1957642"/>
              <a:gd name="connsiteY33" fmla="*/ 2485514 h 3249282"/>
              <a:gd name="connsiteX34" fmla="*/ 558453 w 1957642"/>
              <a:gd name="connsiteY34" fmla="*/ 2485514 h 3249282"/>
              <a:gd name="connsiteX35" fmla="*/ 491321 w 1957642"/>
              <a:gd name="connsiteY35" fmla="*/ 2418383 h 3249282"/>
              <a:gd name="connsiteX36" fmla="*/ 491321 w 1957642"/>
              <a:gd name="connsiteY36" fmla="*/ 2388750 h 3249282"/>
              <a:gd name="connsiteX37" fmla="*/ 558453 w 1957642"/>
              <a:gd name="connsiteY37" fmla="*/ 2321619 h 3249282"/>
              <a:gd name="connsiteX38" fmla="*/ 1407452 w 1957642"/>
              <a:gd name="connsiteY38" fmla="*/ 2321619 h 3249282"/>
              <a:gd name="connsiteX39" fmla="*/ 1474583 w 1957642"/>
              <a:gd name="connsiteY39" fmla="*/ 2388750 h 3249282"/>
              <a:gd name="connsiteX40" fmla="*/ 1474583 w 1957642"/>
              <a:gd name="connsiteY40" fmla="*/ 2418383 h 3249282"/>
              <a:gd name="connsiteX41" fmla="*/ 1407452 w 1957642"/>
              <a:gd name="connsiteY41" fmla="*/ 2485514 h 3249282"/>
              <a:gd name="connsiteX42" fmla="*/ 1374676 w 1957642"/>
              <a:gd name="connsiteY42" fmla="*/ 2707334 h 3249282"/>
              <a:gd name="connsiteX43" fmla="*/ 591228 w 1957642"/>
              <a:gd name="connsiteY43" fmla="*/ 2707334 h 3249282"/>
              <a:gd name="connsiteX44" fmla="*/ 524097 w 1957642"/>
              <a:gd name="connsiteY44" fmla="*/ 2640203 h 3249282"/>
              <a:gd name="connsiteX45" fmla="*/ 524097 w 1957642"/>
              <a:gd name="connsiteY45" fmla="*/ 2610570 h 3249282"/>
              <a:gd name="connsiteX46" fmla="*/ 591228 w 1957642"/>
              <a:gd name="connsiteY46" fmla="*/ 2543440 h 3249282"/>
              <a:gd name="connsiteX47" fmla="*/ 1374676 w 1957642"/>
              <a:gd name="connsiteY47" fmla="*/ 2543440 h 3249282"/>
              <a:gd name="connsiteX48" fmla="*/ 1441808 w 1957642"/>
              <a:gd name="connsiteY48" fmla="*/ 2610570 h 3249282"/>
              <a:gd name="connsiteX49" fmla="*/ 1441808 w 1957642"/>
              <a:gd name="connsiteY49" fmla="*/ 2640203 h 3249282"/>
              <a:gd name="connsiteX50" fmla="*/ 1374676 w 1957642"/>
              <a:gd name="connsiteY50" fmla="*/ 2707334 h 3249282"/>
              <a:gd name="connsiteX51" fmla="*/ 1341902 w 1957642"/>
              <a:gd name="connsiteY51" fmla="*/ 2929154 h 3249282"/>
              <a:gd name="connsiteX52" fmla="*/ 624004 w 1957642"/>
              <a:gd name="connsiteY52" fmla="*/ 2929154 h 3249282"/>
              <a:gd name="connsiteX53" fmla="*/ 556873 w 1957642"/>
              <a:gd name="connsiteY53" fmla="*/ 2862023 h 3249282"/>
              <a:gd name="connsiteX54" fmla="*/ 556873 w 1957642"/>
              <a:gd name="connsiteY54" fmla="*/ 2832390 h 3249282"/>
              <a:gd name="connsiteX55" fmla="*/ 624004 w 1957642"/>
              <a:gd name="connsiteY55" fmla="*/ 2765259 h 3249282"/>
              <a:gd name="connsiteX56" fmla="*/ 1341902 w 1957642"/>
              <a:gd name="connsiteY56" fmla="*/ 2765259 h 3249282"/>
              <a:gd name="connsiteX57" fmla="*/ 1409033 w 1957642"/>
              <a:gd name="connsiteY57" fmla="*/ 2832390 h 3249282"/>
              <a:gd name="connsiteX58" fmla="*/ 1409033 w 1957642"/>
              <a:gd name="connsiteY58" fmla="*/ 2862023 h 3249282"/>
              <a:gd name="connsiteX59" fmla="*/ 1341902 w 1957642"/>
              <a:gd name="connsiteY59" fmla="*/ 2929154 h 3249282"/>
              <a:gd name="connsiteX60" fmla="*/ 982953 w 1957642"/>
              <a:gd name="connsiteY60" fmla="*/ 3249282 h 3249282"/>
              <a:gd name="connsiteX61" fmla="*/ 622424 w 1957642"/>
              <a:gd name="connsiteY61" fmla="*/ 3118181 h 3249282"/>
              <a:gd name="connsiteX62" fmla="*/ 622424 w 1957642"/>
              <a:gd name="connsiteY62" fmla="*/ 2987080 h 3249282"/>
              <a:gd name="connsiteX63" fmla="*/ 1343482 w 1957642"/>
              <a:gd name="connsiteY63" fmla="*/ 2987080 h 3249282"/>
              <a:gd name="connsiteX64" fmla="*/ 1343482 w 1957642"/>
              <a:gd name="connsiteY64" fmla="*/ 3118181 h 3249282"/>
              <a:gd name="connsiteX65" fmla="*/ 982953 w 1957642"/>
              <a:gd name="connsiteY65" fmla="*/ 3249282 h 3249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1957642" h="3249282">
                <a:moveTo>
                  <a:pt x="1047232" y="5654"/>
                </a:moveTo>
                <a:lnTo>
                  <a:pt x="1030640" y="5654"/>
                </a:lnTo>
                <a:lnTo>
                  <a:pt x="1048024" y="0"/>
                </a:lnTo>
                <a:close/>
                <a:moveTo>
                  <a:pt x="1160845" y="2127215"/>
                </a:moveTo>
                <a:lnTo>
                  <a:pt x="1196036" y="2120110"/>
                </a:lnTo>
                <a:lnTo>
                  <a:pt x="1237844" y="2120446"/>
                </a:lnTo>
                <a:cubicBezTo>
                  <a:pt x="1308896" y="2116324"/>
                  <a:pt x="1283850" y="2108399"/>
                  <a:pt x="1296213" y="2029106"/>
                </a:cubicBezTo>
                <a:cubicBezTo>
                  <a:pt x="1327247" y="1916021"/>
                  <a:pt x="1321193" y="1914210"/>
                  <a:pt x="1397562" y="1825853"/>
                </a:cubicBezTo>
                <a:cubicBezTo>
                  <a:pt x="1565052" y="1691460"/>
                  <a:pt x="1777778" y="1397289"/>
                  <a:pt x="1777778" y="1099228"/>
                </a:cubicBezTo>
                <a:cubicBezTo>
                  <a:pt x="1777778" y="658937"/>
                  <a:pt x="1421136" y="301944"/>
                  <a:pt x="980978" y="301427"/>
                </a:cubicBezTo>
                <a:lnTo>
                  <a:pt x="980978" y="301625"/>
                </a:lnTo>
                <a:lnTo>
                  <a:pt x="978823" y="301459"/>
                </a:lnTo>
                <a:lnTo>
                  <a:pt x="976666" y="301625"/>
                </a:lnTo>
                <a:lnTo>
                  <a:pt x="976666" y="301427"/>
                </a:lnTo>
                <a:cubicBezTo>
                  <a:pt x="536507" y="301944"/>
                  <a:pt x="179865" y="658937"/>
                  <a:pt x="179865" y="1099228"/>
                </a:cubicBezTo>
                <a:cubicBezTo>
                  <a:pt x="179865" y="1397289"/>
                  <a:pt x="392591" y="1691460"/>
                  <a:pt x="560081" y="1825853"/>
                </a:cubicBezTo>
                <a:cubicBezTo>
                  <a:pt x="636451" y="1914210"/>
                  <a:pt x="630396" y="1916021"/>
                  <a:pt x="661430" y="2029106"/>
                </a:cubicBezTo>
                <a:cubicBezTo>
                  <a:pt x="673794" y="2108399"/>
                  <a:pt x="648747" y="2116324"/>
                  <a:pt x="719799" y="2120446"/>
                </a:cubicBezTo>
                <a:lnTo>
                  <a:pt x="770760" y="2120037"/>
                </a:lnTo>
                <a:lnTo>
                  <a:pt x="806315" y="2127215"/>
                </a:lnTo>
                <a:close/>
                <a:moveTo>
                  <a:pt x="1319520" y="2263042"/>
                </a:moveTo>
                <a:lnTo>
                  <a:pt x="978823" y="2261822"/>
                </a:lnTo>
                <a:lnTo>
                  <a:pt x="638123" y="2263042"/>
                </a:lnTo>
                <a:cubicBezTo>
                  <a:pt x="577778" y="2263042"/>
                  <a:pt x="547241" y="2240386"/>
                  <a:pt x="513100" y="2169534"/>
                </a:cubicBezTo>
                <a:cubicBezTo>
                  <a:pt x="499969" y="2077754"/>
                  <a:pt x="526938" y="2040759"/>
                  <a:pt x="465828" y="1970355"/>
                </a:cubicBezTo>
                <a:cubicBezTo>
                  <a:pt x="260705" y="1805868"/>
                  <a:pt x="0" y="1445504"/>
                  <a:pt x="0" y="1080372"/>
                </a:cubicBezTo>
                <a:cubicBezTo>
                  <a:pt x="0" y="540796"/>
                  <a:pt x="437413" y="103385"/>
                  <a:pt x="976988" y="103385"/>
                </a:cubicBezTo>
                <a:lnTo>
                  <a:pt x="978823" y="103526"/>
                </a:lnTo>
                <a:lnTo>
                  <a:pt x="980656" y="103385"/>
                </a:lnTo>
                <a:cubicBezTo>
                  <a:pt x="1520231" y="103385"/>
                  <a:pt x="1957642" y="540796"/>
                  <a:pt x="1957642" y="1080372"/>
                </a:cubicBezTo>
                <a:cubicBezTo>
                  <a:pt x="1957642" y="1445504"/>
                  <a:pt x="1696938" y="1805868"/>
                  <a:pt x="1491816" y="1970355"/>
                </a:cubicBezTo>
                <a:cubicBezTo>
                  <a:pt x="1430706" y="2040759"/>
                  <a:pt x="1457674" y="2077754"/>
                  <a:pt x="1444543" y="2169534"/>
                </a:cubicBezTo>
                <a:cubicBezTo>
                  <a:pt x="1410403" y="2240386"/>
                  <a:pt x="1379867" y="2263042"/>
                  <a:pt x="1319520" y="2263042"/>
                </a:cubicBezTo>
                <a:close/>
                <a:moveTo>
                  <a:pt x="1407452" y="2485514"/>
                </a:moveTo>
                <a:lnTo>
                  <a:pt x="558453" y="2485514"/>
                </a:lnTo>
                <a:cubicBezTo>
                  <a:pt x="521377" y="2485514"/>
                  <a:pt x="491321" y="2455458"/>
                  <a:pt x="491321" y="2418383"/>
                </a:cubicBezTo>
                <a:lnTo>
                  <a:pt x="491321" y="2388750"/>
                </a:lnTo>
                <a:cubicBezTo>
                  <a:pt x="491321" y="2351675"/>
                  <a:pt x="521377" y="2321619"/>
                  <a:pt x="558453" y="2321619"/>
                </a:cubicBezTo>
                <a:lnTo>
                  <a:pt x="1407452" y="2321619"/>
                </a:lnTo>
                <a:cubicBezTo>
                  <a:pt x="1444528" y="2321619"/>
                  <a:pt x="1474583" y="2351675"/>
                  <a:pt x="1474583" y="2388750"/>
                </a:cubicBezTo>
                <a:lnTo>
                  <a:pt x="1474583" y="2418383"/>
                </a:lnTo>
                <a:cubicBezTo>
                  <a:pt x="1474583" y="2455458"/>
                  <a:pt x="1444528" y="2485514"/>
                  <a:pt x="1407452" y="2485514"/>
                </a:cubicBezTo>
                <a:close/>
                <a:moveTo>
                  <a:pt x="1374676" y="2707334"/>
                </a:moveTo>
                <a:lnTo>
                  <a:pt x="591228" y="2707334"/>
                </a:lnTo>
                <a:cubicBezTo>
                  <a:pt x="554153" y="2707334"/>
                  <a:pt x="524097" y="2677278"/>
                  <a:pt x="524097" y="2640203"/>
                </a:cubicBezTo>
                <a:lnTo>
                  <a:pt x="524097" y="2610570"/>
                </a:lnTo>
                <a:cubicBezTo>
                  <a:pt x="524097" y="2573495"/>
                  <a:pt x="554153" y="2543440"/>
                  <a:pt x="591228" y="2543440"/>
                </a:cubicBezTo>
                <a:lnTo>
                  <a:pt x="1374676" y="2543440"/>
                </a:lnTo>
                <a:cubicBezTo>
                  <a:pt x="1411752" y="2543440"/>
                  <a:pt x="1441808" y="2573495"/>
                  <a:pt x="1441808" y="2610570"/>
                </a:cubicBezTo>
                <a:lnTo>
                  <a:pt x="1441808" y="2640203"/>
                </a:lnTo>
                <a:cubicBezTo>
                  <a:pt x="1441808" y="2677278"/>
                  <a:pt x="1411752" y="2707334"/>
                  <a:pt x="1374676" y="2707334"/>
                </a:cubicBezTo>
                <a:close/>
                <a:moveTo>
                  <a:pt x="1341902" y="2929154"/>
                </a:moveTo>
                <a:lnTo>
                  <a:pt x="624004" y="2929154"/>
                </a:lnTo>
                <a:cubicBezTo>
                  <a:pt x="586929" y="2929154"/>
                  <a:pt x="556873" y="2899098"/>
                  <a:pt x="556873" y="2862023"/>
                </a:cubicBezTo>
                <a:lnTo>
                  <a:pt x="556873" y="2832390"/>
                </a:lnTo>
                <a:cubicBezTo>
                  <a:pt x="556873" y="2795315"/>
                  <a:pt x="586929" y="2765259"/>
                  <a:pt x="624004" y="2765259"/>
                </a:cubicBezTo>
                <a:lnTo>
                  <a:pt x="1341902" y="2765259"/>
                </a:lnTo>
                <a:cubicBezTo>
                  <a:pt x="1378978" y="2765259"/>
                  <a:pt x="1409033" y="2795315"/>
                  <a:pt x="1409033" y="2832390"/>
                </a:cubicBezTo>
                <a:lnTo>
                  <a:pt x="1409033" y="2862023"/>
                </a:lnTo>
                <a:cubicBezTo>
                  <a:pt x="1409033" y="2899098"/>
                  <a:pt x="1378978" y="2929154"/>
                  <a:pt x="1341902" y="2929154"/>
                </a:cubicBezTo>
                <a:close/>
                <a:moveTo>
                  <a:pt x="982953" y="3249282"/>
                </a:moveTo>
                <a:cubicBezTo>
                  <a:pt x="783838" y="3249282"/>
                  <a:pt x="622424" y="3190586"/>
                  <a:pt x="622424" y="3118181"/>
                </a:cubicBezTo>
                <a:lnTo>
                  <a:pt x="622424" y="2987080"/>
                </a:lnTo>
                <a:lnTo>
                  <a:pt x="1343482" y="2987080"/>
                </a:lnTo>
                <a:lnTo>
                  <a:pt x="1343482" y="3118181"/>
                </a:lnTo>
                <a:cubicBezTo>
                  <a:pt x="1343482" y="3190586"/>
                  <a:pt x="1182068" y="3249282"/>
                  <a:pt x="982953" y="324928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B9CCD33-5814-468F-8F77-3FEAA6EC7DC8}"/>
              </a:ext>
            </a:extLst>
          </p:cNvPr>
          <p:cNvSpPr/>
          <p:nvPr/>
        </p:nvSpPr>
        <p:spPr>
          <a:xfrm>
            <a:off x="0" y="807231"/>
            <a:ext cx="12192000" cy="954310"/>
          </a:xfrm>
          <a:prstGeom prst="rect">
            <a:avLst/>
          </a:prstGeom>
          <a:solidFill>
            <a:srgbClr val="00B05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Freeform: Shape 27">
            <a:extLst>
              <a:ext uri="{FF2B5EF4-FFF2-40B4-BE49-F238E27FC236}">
                <a16:creationId xmlns:a16="http://schemas.microsoft.com/office/drawing/2014/main" id="{97F71E1E-EADE-4A0D-8633-55A9624FB148}"/>
              </a:ext>
            </a:extLst>
          </p:cNvPr>
          <p:cNvSpPr/>
          <p:nvPr/>
        </p:nvSpPr>
        <p:spPr>
          <a:xfrm>
            <a:off x="1419326" y="3391060"/>
            <a:ext cx="381042" cy="421736"/>
          </a:xfrm>
          <a:custGeom>
            <a:avLst/>
            <a:gdLst>
              <a:gd name="connsiteX0" fmla="*/ 209564 w 363926"/>
              <a:gd name="connsiteY0" fmla="*/ 379331 h 630806"/>
              <a:gd name="connsiteX1" fmla="*/ 314699 w 363926"/>
              <a:gd name="connsiteY1" fmla="*/ 351834 h 630806"/>
              <a:gd name="connsiteX2" fmla="*/ 183685 w 363926"/>
              <a:gd name="connsiteY2" fmla="*/ 638123 h 630806"/>
              <a:gd name="connsiteX3" fmla="*/ 183685 w 363926"/>
              <a:gd name="connsiteY3" fmla="*/ 456160 h 630806"/>
              <a:gd name="connsiteX4" fmla="*/ 48628 w 363926"/>
              <a:gd name="connsiteY4" fmla="*/ 511153 h 630806"/>
              <a:gd name="connsiteX5" fmla="*/ 115752 w 363926"/>
              <a:gd name="connsiteY5" fmla="*/ 331616 h 630806"/>
              <a:gd name="connsiteX6" fmla="*/ 99577 w 363926"/>
              <a:gd name="connsiteY6" fmla="*/ 286327 h 630806"/>
              <a:gd name="connsiteX7" fmla="*/ 1722 w 363926"/>
              <a:gd name="connsiteY7" fmla="*/ 157740 h 630806"/>
              <a:gd name="connsiteX8" fmla="*/ 22748 w 363926"/>
              <a:gd name="connsiteY8" fmla="*/ 131861 h 630806"/>
              <a:gd name="connsiteX9" fmla="*/ 61567 w 363926"/>
              <a:gd name="connsiteY9" fmla="*/ 94659 h 630806"/>
              <a:gd name="connsiteX10" fmla="*/ 60759 w 363926"/>
              <a:gd name="connsiteY10" fmla="*/ 25918 h 630806"/>
              <a:gd name="connsiteX11" fmla="*/ 83403 w 363926"/>
              <a:gd name="connsiteY11" fmla="*/ 847 h 630806"/>
              <a:gd name="connsiteX12" fmla="*/ 102813 w 363926"/>
              <a:gd name="connsiteY12" fmla="*/ 25918 h 630806"/>
              <a:gd name="connsiteX13" fmla="*/ 102813 w 363926"/>
              <a:gd name="connsiteY13" fmla="*/ 113260 h 630806"/>
              <a:gd name="connsiteX14" fmla="*/ 123031 w 363926"/>
              <a:gd name="connsiteY14" fmla="*/ 132669 h 630806"/>
              <a:gd name="connsiteX15" fmla="*/ 237061 w 363926"/>
              <a:gd name="connsiteY15" fmla="*/ 132669 h 630806"/>
              <a:gd name="connsiteX16" fmla="*/ 259705 w 363926"/>
              <a:gd name="connsiteY16" fmla="*/ 108408 h 630806"/>
              <a:gd name="connsiteX17" fmla="*/ 259705 w 363926"/>
              <a:gd name="connsiteY17" fmla="*/ 27535 h 630806"/>
              <a:gd name="connsiteX18" fmla="*/ 280732 w 363926"/>
              <a:gd name="connsiteY18" fmla="*/ 38 h 630806"/>
              <a:gd name="connsiteX19" fmla="*/ 301759 w 363926"/>
              <a:gd name="connsiteY19" fmla="*/ 26726 h 630806"/>
              <a:gd name="connsiteX20" fmla="*/ 300950 w 363926"/>
              <a:gd name="connsiteY20" fmla="*/ 107599 h 630806"/>
              <a:gd name="connsiteX21" fmla="*/ 325212 w 363926"/>
              <a:gd name="connsiteY21" fmla="*/ 132669 h 630806"/>
              <a:gd name="connsiteX22" fmla="*/ 359987 w 363926"/>
              <a:gd name="connsiteY22" fmla="*/ 181193 h 630806"/>
              <a:gd name="connsiteX23" fmla="*/ 281541 w 363926"/>
              <a:gd name="connsiteY23" fmla="*/ 279049 h 630806"/>
              <a:gd name="connsiteX24" fmla="*/ 222504 w 363926"/>
              <a:gd name="connsiteY24" fmla="*/ 347791 h 630806"/>
              <a:gd name="connsiteX25" fmla="*/ 209564 w 363926"/>
              <a:gd name="connsiteY25" fmla="*/ 379331 h 630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363926" h="630806">
                <a:moveTo>
                  <a:pt x="209564" y="379331"/>
                </a:moveTo>
                <a:cubicBezTo>
                  <a:pt x="246766" y="369626"/>
                  <a:pt x="278306" y="361539"/>
                  <a:pt x="314699" y="351834"/>
                </a:cubicBezTo>
                <a:cubicBezTo>
                  <a:pt x="270219" y="448881"/>
                  <a:pt x="228165" y="541076"/>
                  <a:pt x="183685" y="638123"/>
                </a:cubicBezTo>
                <a:cubicBezTo>
                  <a:pt x="183685" y="575043"/>
                  <a:pt x="183685" y="516814"/>
                  <a:pt x="183685" y="456160"/>
                </a:cubicBezTo>
                <a:cubicBezTo>
                  <a:pt x="140014" y="473952"/>
                  <a:pt x="96343" y="491744"/>
                  <a:pt x="48628" y="511153"/>
                </a:cubicBezTo>
                <a:cubicBezTo>
                  <a:pt x="71272" y="448881"/>
                  <a:pt x="92299" y="389844"/>
                  <a:pt x="115752" y="331616"/>
                </a:cubicBezTo>
                <a:cubicBezTo>
                  <a:pt x="124648" y="308972"/>
                  <a:pt x="126266" y="298458"/>
                  <a:pt x="99577" y="286327"/>
                </a:cubicBezTo>
                <a:cubicBezTo>
                  <a:pt x="45393" y="262066"/>
                  <a:pt x="15470" y="215968"/>
                  <a:pt x="1722" y="157740"/>
                </a:cubicBezTo>
                <a:cubicBezTo>
                  <a:pt x="-2322" y="139948"/>
                  <a:pt x="-705" y="127817"/>
                  <a:pt x="22748" y="131861"/>
                </a:cubicBezTo>
                <a:cubicBezTo>
                  <a:pt x="53480" y="137522"/>
                  <a:pt x="64802" y="126200"/>
                  <a:pt x="61567" y="94659"/>
                </a:cubicBezTo>
                <a:cubicBezTo>
                  <a:pt x="59141" y="72015"/>
                  <a:pt x="60759" y="48562"/>
                  <a:pt x="60759" y="25918"/>
                </a:cubicBezTo>
                <a:cubicBezTo>
                  <a:pt x="60759" y="11360"/>
                  <a:pt x="67228" y="38"/>
                  <a:pt x="83403" y="847"/>
                </a:cubicBezTo>
                <a:cubicBezTo>
                  <a:pt x="97151" y="1656"/>
                  <a:pt x="102813" y="12169"/>
                  <a:pt x="102813" y="25918"/>
                </a:cubicBezTo>
                <a:cubicBezTo>
                  <a:pt x="102813" y="55032"/>
                  <a:pt x="103621" y="84146"/>
                  <a:pt x="102813" y="113260"/>
                </a:cubicBezTo>
                <a:cubicBezTo>
                  <a:pt x="102004" y="129434"/>
                  <a:pt x="107665" y="133478"/>
                  <a:pt x="123031" y="132669"/>
                </a:cubicBezTo>
                <a:cubicBezTo>
                  <a:pt x="161041" y="131861"/>
                  <a:pt x="199051" y="131052"/>
                  <a:pt x="237061" y="132669"/>
                </a:cubicBezTo>
                <a:cubicBezTo>
                  <a:pt x="257279" y="133478"/>
                  <a:pt x="260514" y="125391"/>
                  <a:pt x="259705" y="108408"/>
                </a:cubicBezTo>
                <a:cubicBezTo>
                  <a:pt x="258088" y="81720"/>
                  <a:pt x="259705" y="54223"/>
                  <a:pt x="259705" y="27535"/>
                </a:cubicBezTo>
                <a:cubicBezTo>
                  <a:pt x="259705" y="12169"/>
                  <a:pt x="265366" y="847"/>
                  <a:pt x="280732" y="38"/>
                </a:cubicBezTo>
                <a:cubicBezTo>
                  <a:pt x="296907" y="-771"/>
                  <a:pt x="301759" y="11360"/>
                  <a:pt x="301759" y="26726"/>
                </a:cubicBezTo>
                <a:cubicBezTo>
                  <a:pt x="301759" y="53414"/>
                  <a:pt x="302568" y="80911"/>
                  <a:pt x="300950" y="107599"/>
                </a:cubicBezTo>
                <a:cubicBezTo>
                  <a:pt x="300142" y="127008"/>
                  <a:pt x="304994" y="132669"/>
                  <a:pt x="325212" y="132669"/>
                </a:cubicBezTo>
                <a:cubicBezTo>
                  <a:pt x="373736" y="131861"/>
                  <a:pt x="375353" y="135096"/>
                  <a:pt x="359987" y="181193"/>
                </a:cubicBezTo>
                <a:cubicBezTo>
                  <a:pt x="345430" y="223247"/>
                  <a:pt x="321169" y="259639"/>
                  <a:pt x="281541" y="279049"/>
                </a:cubicBezTo>
                <a:cubicBezTo>
                  <a:pt x="250001" y="294415"/>
                  <a:pt x="232209" y="316250"/>
                  <a:pt x="222504" y="347791"/>
                </a:cubicBezTo>
                <a:cubicBezTo>
                  <a:pt x="219269" y="357495"/>
                  <a:pt x="215225" y="366391"/>
                  <a:pt x="209564" y="379331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808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Oval 25">
            <a:extLst>
              <a:ext uri="{FF2B5EF4-FFF2-40B4-BE49-F238E27FC236}">
                <a16:creationId xmlns:a16="http://schemas.microsoft.com/office/drawing/2014/main" id="{A5AE4DDB-3B86-4FBA-8DC4-1A1DC5EB87F1}"/>
              </a:ext>
            </a:extLst>
          </p:cNvPr>
          <p:cNvSpPr>
            <a:spLocks noChangeAspect="1"/>
          </p:cNvSpPr>
          <p:nvPr/>
        </p:nvSpPr>
        <p:spPr>
          <a:xfrm>
            <a:off x="3587590" y="3325876"/>
            <a:ext cx="441283" cy="441885"/>
          </a:xfrm>
          <a:custGeom>
            <a:avLst/>
            <a:gdLst/>
            <a:ahLst/>
            <a:cxnLst/>
            <a:rect l="l" t="t" r="r" b="b"/>
            <a:pathLst>
              <a:path w="3225370" h="3229762">
                <a:moveTo>
                  <a:pt x="1355872" y="0"/>
                </a:moveTo>
                <a:cubicBezTo>
                  <a:pt x="1564636" y="0"/>
                  <a:pt x="1733872" y="169236"/>
                  <a:pt x="1733872" y="378000"/>
                </a:cubicBezTo>
                <a:cubicBezTo>
                  <a:pt x="1733872" y="530834"/>
                  <a:pt x="1643169" y="662483"/>
                  <a:pt x="1512292" y="721255"/>
                </a:cubicBezTo>
                <a:lnTo>
                  <a:pt x="1607042" y="1169019"/>
                </a:lnTo>
                <a:cubicBezTo>
                  <a:pt x="1611319" y="1167786"/>
                  <a:pt x="1615651" y="1167712"/>
                  <a:pt x="1620000" y="1167712"/>
                </a:cubicBezTo>
                <a:cubicBezTo>
                  <a:pt x="1828764" y="1167712"/>
                  <a:pt x="1998000" y="1336948"/>
                  <a:pt x="1998000" y="1545712"/>
                </a:cubicBezTo>
                <a:lnTo>
                  <a:pt x="1996362" y="1567711"/>
                </a:lnTo>
                <a:lnTo>
                  <a:pt x="2525816" y="1711728"/>
                </a:lnTo>
                <a:cubicBezTo>
                  <a:pt x="2591164" y="1602543"/>
                  <a:pt x="2710810" y="1530128"/>
                  <a:pt x="2847370" y="1530128"/>
                </a:cubicBezTo>
                <a:cubicBezTo>
                  <a:pt x="3056134" y="1530128"/>
                  <a:pt x="3225370" y="1699364"/>
                  <a:pt x="3225370" y="1908128"/>
                </a:cubicBezTo>
                <a:cubicBezTo>
                  <a:pt x="3225370" y="2116892"/>
                  <a:pt x="3056134" y="2286128"/>
                  <a:pt x="2847370" y="2286128"/>
                </a:cubicBezTo>
                <a:cubicBezTo>
                  <a:pt x="2638606" y="2286128"/>
                  <a:pt x="2469370" y="2116892"/>
                  <a:pt x="2469370" y="1908128"/>
                </a:cubicBezTo>
                <a:lnTo>
                  <a:pt x="2475505" y="1847275"/>
                </a:lnTo>
                <a:lnTo>
                  <a:pt x="1957861" y="1706471"/>
                </a:lnTo>
                <a:cubicBezTo>
                  <a:pt x="1922674" y="1789256"/>
                  <a:pt x="1855841" y="1854310"/>
                  <a:pt x="1773397" y="1890608"/>
                </a:cubicBezTo>
                <a:lnTo>
                  <a:pt x="1908290" y="2478637"/>
                </a:lnTo>
                <a:cubicBezTo>
                  <a:pt x="2094333" y="2500701"/>
                  <a:pt x="2237929" y="2659462"/>
                  <a:pt x="2237929" y="2851762"/>
                </a:cubicBezTo>
                <a:cubicBezTo>
                  <a:pt x="2237929" y="3060526"/>
                  <a:pt x="2068693" y="3229762"/>
                  <a:pt x="1859929" y="3229762"/>
                </a:cubicBezTo>
                <a:cubicBezTo>
                  <a:pt x="1651165" y="3229762"/>
                  <a:pt x="1481929" y="3060526"/>
                  <a:pt x="1481929" y="2851762"/>
                </a:cubicBezTo>
                <a:cubicBezTo>
                  <a:pt x="1481929" y="2676759"/>
                  <a:pt x="1600854" y="2529533"/>
                  <a:pt x="1762693" y="2487978"/>
                </a:cubicBezTo>
                <a:lnTo>
                  <a:pt x="1632951" y="1922407"/>
                </a:lnTo>
                <a:cubicBezTo>
                  <a:pt x="1628677" y="1923639"/>
                  <a:pt x="1624347" y="1923712"/>
                  <a:pt x="1620000" y="1923712"/>
                </a:cubicBezTo>
                <a:cubicBezTo>
                  <a:pt x="1474614" y="1923712"/>
                  <a:pt x="1348399" y="1841634"/>
                  <a:pt x="1286703" y="1720478"/>
                </a:cubicBezTo>
                <a:lnTo>
                  <a:pt x="726463" y="1950491"/>
                </a:lnTo>
                <a:cubicBezTo>
                  <a:pt x="745503" y="1995553"/>
                  <a:pt x="756000" y="2045092"/>
                  <a:pt x="756000" y="2097083"/>
                </a:cubicBezTo>
                <a:cubicBezTo>
                  <a:pt x="756000" y="2305847"/>
                  <a:pt x="586764" y="2475083"/>
                  <a:pt x="378000" y="2475083"/>
                </a:cubicBezTo>
                <a:cubicBezTo>
                  <a:pt x="169236" y="2475083"/>
                  <a:pt x="0" y="2305847"/>
                  <a:pt x="0" y="2097083"/>
                </a:cubicBezTo>
                <a:cubicBezTo>
                  <a:pt x="0" y="1888319"/>
                  <a:pt x="169236" y="1719083"/>
                  <a:pt x="378000" y="1719083"/>
                </a:cubicBezTo>
                <a:cubicBezTo>
                  <a:pt x="481765" y="1719083"/>
                  <a:pt x="575764" y="1760894"/>
                  <a:pt x="643957" y="1828700"/>
                </a:cubicBezTo>
                <a:lnTo>
                  <a:pt x="1245626" y="1581679"/>
                </a:lnTo>
                <a:cubicBezTo>
                  <a:pt x="1242578" y="1569964"/>
                  <a:pt x="1242000" y="1557905"/>
                  <a:pt x="1242000" y="1545712"/>
                </a:cubicBezTo>
                <a:cubicBezTo>
                  <a:pt x="1242000" y="1391666"/>
                  <a:pt x="1334148" y="1259142"/>
                  <a:pt x="1466584" y="1200827"/>
                </a:cubicBezTo>
                <a:lnTo>
                  <a:pt x="1372109" y="754363"/>
                </a:lnTo>
                <a:cubicBezTo>
                  <a:pt x="1366762" y="755885"/>
                  <a:pt x="1361331" y="756000"/>
                  <a:pt x="1355872" y="756000"/>
                </a:cubicBezTo>
                <a:cubicBezTo>
                  <a:pt x="1147108" y="756000"/>
                  <a:pt x="977872" y="586764"/>
                  <a:pt x="977872" y="378000"/>
                </a:cubicBezTo>
                <a:cubicBezTo>
                  <a:pt x="977872" y="169236"/>
                  <a:pt x="1147108" y="0"/>
                  <a:pt x="1355872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31" name="Freeform: Shape 35">
            <a:extLst>
              <a:ext uri="{FF2B5EF4-FFF2-40B4-BE49-F238E27FC236}">
                <a16:creationId xmlns:a16="http://schemas.microsoft.com/office/drawing/2014/main" id="{4123A067-51F8-4B16-8024-24818ECEF1E1}"/>
              </a:ext>
            </a:extLst>
          </p:cNvPr>
          <p:cNvSpPr/>
          <p:nvPr/>
        </p:nvSpPr>
        <p:spPr>
          <a:xfrm>
            <a:off x="5780923" y="3281628"/>
            <a:ext cx="422820" cy="471385"/>
          </a:xfrm>
          <a:custGeom>
            <a:avLst/>
            <a:gdLst>
              <a:gd name="connsiteX0" fmla="*/ 817516 w 1645921"/>
              <a:gd name="connsiteY0" fmla="*/ 1935988 h 2169949"/>
              <a:gd name="connsiteX1" fmla="*/ 513238 w 1645921"/>
              <a:gd name="connsiteY1" fmla="*/ 2124229 h 2169949"/>
              <a:gd name="connsiteX2" fmla="*/ 820226 w 1645921"/>
              <a:gd name="connsiteY2" fmla="*/ 2124229 h 2169949"/>
              <a:gd name="connsiteX3" fmla="*/ 848006 w 1645921"/>
              <a:gd name="connsiteY3" fmla="*/ 1933084 h 2169949"/>
              <a:gd name="connsiteX4" fmla="*/ 851058 w 1645921"/>
              <a:gd name="connsiteY4" fmla="*/ 2124229 h 2169949"/>
              <a:gd name="connsiteX5" fmla="*/ 1165501 w 1645921"/>
              <a:gd name="connsiteY5" fmla="*/ 2124229 h 2169949"/>
              <a:gd name="connsiteX6" fmla="*/ 483030 w 1645921"/>
              <a:gd name="connsiteY6" fmla="*/ 1713663 h 2169949"/>
              <a:gd name="connsiteX7" fmla="*/ 441567 w 1645921"/>
              <a:gd name="connsiteY7" fmla="*/ 2124229 h 2169949"/>
              <a:gd name="connsiteX8" fmla="*/ 456637 w 1645921"/>
              <a:gd name="connsiteY8" fmla="*/ 2124229 h 2169949"/>
              <a:gd name="connsiteX9" fmla="*/ 806082 w 1645921"/>
              <a:gd name="connsiteY9" fmla="*/ 1908038 h 2169949"/>
              <a:gd name="connsiteX10" fmla="*/ 483030 w 1645921"/>
              <a:gd name="connsiteY10" fmla="*/ 1713663 h 2169949"/>
              <a:gd name="connsiteX11" fmla="*/ 1192837 w 1645921"/>
              <a:gd name="connsiteY11" fmla="*/ 1703681 h 2169949"/>
              <a:gd name="connsiteX12" fmla="*/ 863251 w 1645921"/>
              <a:gd name="connsiteY12" fmla="*/ 1907494 h 2169949"/>
              <a:gd name="connsiteX13" fmla="*/ 1223376 w 1645921"/>
              <a:gd name="connsiteY13" fmla="*/ 2124229 h 2169949"/>
              <a:gd name="connsiteX14" fmla="*/ 1255703 w 1645921"/>
              <a:gd name="connsiteY14" fmla="*/ 2124229 h 2169949"/>
              <a:gd name="connsiteX15" fmla="*/ 813705 w 1645921"/>
              <a:gd name="connsiteY15" fmla="*/ 1701321 h 2169949"/>
              <a:gd name="connsiteX16" fmla="*/ 529673 w 1645921"/>
              <a:gd name="connsiteY16" fmla="*/ 1704407 h 2169949"/>
              <a:gd name="connsiteX17" fmla="*/ 529129 w 1645921"/>
              <a:gd name="connsiteY17" fmla="*/ 1706584 h 2169949"/>
              <a:gd name="connsiteX18" fmla="*/ 816608 w 1645921"/>
              <a:gd name="connsiteY18" fmla="*/ 1879544 h 2169949"/>
              <a:gd name="connsiteX19" fmla="*/ 813705 w 1645921"/>
              <a:gd name="connsiteY19" fmla="*/ 1701321 h 2169949"/>
              <a:gd name="connsiteX20" fmla="*/ 1143109 w 1645921"/>
              <a:gd name="connsiteY20" fmla="*/ 1697147 h 2169949"/>
              <a:gd name="connsiteX21" fmla="*/ 844376 w 1645921"/>
              <a:gd name="connsiteY21" fmla="*/ 1700595 h 2169949"/>
              <a:gd name="connsiteX22" fmla="*/ 847280 w 1645921"/>
              <a:gd name="connsiteY22" fmla="*/ 1882630 h 2169949"/>
              <a:gd name="connsiteX23" fmla="*/ 1143835 w 1645921"/>
              <a:gd name="connsiteY23" fmla="*/ 1699143 h 2169949"/>
              <a:gd name="connsiteX24" fmla="*/ 1143109 w 1645921"/>
              <a:gd name="connsiteY24" fmla="*/ 1697147 h 2169949"/>
              <a:gd name="connsiteX25" fmla="*/ 840565 w 1645921"/>
              <a:gd name="connsiteY25" fmla="*/ 1456129 h 2169949"/>
              <a:gd name="connsiteX26" fmla="*/ 844195 w 1645921"/>
              <a:gd name="connsiteY26" fmla="*/ 1670287 h 2169949"/>
              <a:gd name="connsiteX27" fmla="*/ 1144923 w 1645921"/>
              <a:gd name="connsiteY27" fmla="*/ 1666838 h 2169949"/>
              <a:gd name="connsiteX28" fmla="*/ 1145649 w 1645921"/>
              <a:gd name="connsiteY28" fmla="*/ 1665205 h 2169949"/>
              <a:gd name="connsiteX29" fmla="*/ 840565 w 1645921"/>
              <a:gd name="connsiteY29" fmla="*/ 1456129 h 2169949"/>
              <a:gd name="connsiteX30" fmla="*/ 810075 w 1645921"/>
              <a:gd name="connsiteY30" fmla="*/ 1455403 h 2169949"/>
              <a:gd name="connsiteX31" fmla="*/ 517695 w 1645921"/>
              <a:gd name="connsiteY31" fmla="*/ 1674098 h 2169949"/>
              <a:gd name="connsiteX32" fmla="*/ 813342 w 1645921"/>
              <a:gd name="connsiteY32" fmla="*/ 1670650 h 2169949"/>
              <a:gd name="connsiteX33" fmla="*/ 810075 w 1645921"/>
              <a:gd name="connsiteY33" fmla="*/ 1455403 h 2169949"/>
              <a:gd name="connsiteX34" fmla="*/ 530580 w 1645921"/>
              <a:gd name="connsiteY34" fmla="*/ 1243604 h 2169949"/>
              <a:gd name="connsiteX35" fmla="*/ 488656 w 1645921"/>
              <a:gd name="connsiteY35" fmla="*/ 1658308 h 2169949"/>
              <a:gd name="connsiteX36" fmla="*/ 797915 w 1645921"/>
              <a:gd name="connsiteY36" fmla="*/ 1426909 h 2169949"/>
              <a:gd name="connsiteX37" fmla="*/ 530580 w 1645921"/>
              <a:gd name="connsiteY37" fmla="*/ 1243604 h 2169949"/>
              <a:gd name="connsiteX38" fmla="*/ 836935 w 1645921"/>
              <a:gd name="connsiteY38" fmla="*/ 1223277 h 2169949"/>
              <a:gd name="connsiteX39" fmla="*/ 839658 w 1645921"/>
              <a:gd name="connsiteY39" fmla="*/ 1395693 h 2169949"/>
              <a:gd name="connsiteX40" fmla="*/ 1070150 w 1645921"/>
              <a:gd name="connsiteY40" fmla="*/ 1223277 h 2169949"/>
              <a:gd name="connsiteX41" fmla="*/ 836935 w 1645921"/>
              <a:gd name="connsiteY41" fmla="*/ 1223277 h 2169949"/>
              <a:gd name="connsiteX42" fmla="*/ 553085 w 1645921"/>
              <a:gd name="connsiteY42" fmla="*/ 1223277 h 2169949"/>
              <a:gd name="connsiteX43" fmla="*/ 809167 w 1645921"/>
              <a:gd name="connsiteY43" fmla="*/ 1398778 h 2169949"/>
              <a:gd name="connsiteX44" fmla="*/ 806445 w 1645921"/>
              <a:gd name="connsiteY44" fmla="*/ 1223277 h 2169949"/>
              <a:gd name="connsiteX45" fmla="*/ 553085 w 1645921"/>
              <a:gd name="connsiteY45" fmla="*/ 1223277 h 2169949"/>
              <a:gd name="connsiteX46" fmla="*/ 1121148 w 1645921"/>
              <a:gd name="connsiteY46" fmla="*/ 1222551 h 2169949"/>
              <a:gd name="connsiteX47" fmla="*/ 849095 w 1645921"/>
              <a:gd name="connsiteY47" fmla="*/ 1426001 h 2169949"/>
              <a:gd name="connsiteX48" fmla="*/ 1185940 w 1645921"/>
              <a:gd name="connsiteY48" fmla="*/ 1656856 h 2169949"/>
              <a:gd name="connsiteX49" fmla="*/ 1121148 w 1645921"/>
              <a:gd name="connsiteY49" fmla="*/ 1222551 h 2169949"/>
              <a:gd name="connsiteX50" fmla="*/ 803178 w 1645921"/>
              <a:gd name="connsiteY50" fmla="*/ 1009119 h 2169949"/>
              <a:gd name="connsiteX51" fmla="*/ 570690 w 1645921"/>
              <a:gd name="connsiteY51" fmla="*/ 1191335 h 2169949"/>
              <a:gd name="connsiteX52" fmla="*/ 805901 w 1645921"/>
              <a:gd name="connsiteY52" fmla="*/ 1191335 h 2169949"/>
              <a:gd name="connsiteX53" fmla="*/ 803178 w 1645921"/>
              <a:gd name="connsiteY53" fmla="*/ 1009119 h 2169949"/>
              <a:gd name="connsiteX54" fmla="*/ 833305 w 1645921"/>
              <a:gd name="connsiteY54" fmla="*/ 992422 h 2169949"/>
              <a:gd name="connsiteX55" fmla="*/ 836572 w 1645921"/>
              <a:gd name="connsiteY55" fmla="*/ 1191154 h 2169949"/>
              <a:gd name="connsiteX56" fmla="*/ 1087391 w 1645921"/>
              <a:gd name="connsiteY56" fmla="*/ 1191154 h 2169949"/>
              <a:gd name="connsiteX57" fmla="*/ 833305 w 1645921"/>
              <a:gd name="connsiteY57" fmla="*/ 992422 h 2169949"/>
              <a:gd name="connsiteX58" fmla="*/ 1055404 w 1645921"/>
              <a:gd name="connsiteY58" fmla="*/ 817761 h 2169949"/>
              <a:gd name="connsiteX59" fmla="*/ 1042745 w 1645921"/>
              <a:gd name="connsiteY59" fmla="*/ 821277 h 2169949"/>
              <a:gd name="connsiteX60" fmla="*/ 985031 w 1645921"/>
              <a:gd name="connsiteY60" fmla="*/ 866468 h 2169949"/>
              <a:gd name="connsiteX61" fmla="*/ 853269 w 1645921"/>
              <a:gd name="connsiteY61" fmla="*/ 969918 h 2169949"/>
              <a:gd name="connsiteX62" fmla="*/ 1113707 w 1645921"/>
              <a:gd name="connsiteY62" fmla="*/ 1173549 h 2169949"/>
              <a:gd name="connsiteX63" fmla="*/ 1099007 w 1645921"/>
              <a:gd name="connsiteY63" fmla="*/ 1072459 h 2169949"/>
              <a:gd name="connsiteX64" fmla="*/ 1079587 w 1645921"/>
              <a:gd name="connsiteY64" fmla="*/ 943783 h 2169949"/>
              <a:gd name="connsiteX65" fmla="*/ 1062346 w 1645921"/>
              <a:gd name="connsiteY65" fmla="*/ 828537 h 2169949"/>
              <a:gd name="connsiteX66" fmla="*/ 1055404 w 1645921"/>
              <a:gd name="connsiteY66" fmla="*/ 817761 h 2169949"/>
              <a:gd name="connsiteX67" fmla="*/ 576134 w 1645921"/>
              <a:gd name="connsiteY67" fmla="*/ 791513 h 2169949"/>
              <a:gd name="connsiteX68" fmla="*/ 537114 w 1645921"/>
              <a:gd name="connsiteY68" fmla="*/ 1179357 h 2169949"/>
              <a:gd name="connsiteX69" fmla="*/ 540744 w 1645921"/>
              <a:gd name="connsiteY69" fmla="*/ 1177179 h 2169949"/>
              <a:gd name="connsiteX70" fmla="*/ 796100 w 1645921"/>
              <a:gd name="connsiteY70" fmla="*/ 976996 h 2169949"/>
              <a:gd name="connsiteX71" fmla="*/ 796100 w 1645921"/>
              <a:gd name="connsiteY71" fmla="*/ 963384 h 2169949"/>
              <a:gd name="connsiteX72" fmla="*/ 618240 w 1645921"/>
              <a:gd name="connsiteY72" fmla="*/ 824181 h 2169949"/>
              <a:gd name="connsiteX73" fmla="*/ 576134 w 1645921"/>
              <a:gd name="connsiteY73" fmla="*/ 791513 h 2169949"/>
              <a:gd name="connsiteX74" fmla="*/ 832035 w 1645921"/>
              <a:gd name="connsiteY74" fmla="*/ 779716 h 2169949"/>
              <a:gd name="connsiteX75" fmla="*/ 832035 w 1645921"/>
              <a:gd name="connsiteY75" fmla="*/ 948865 h 2169949"/>
              <a:gd name="connsiteX76" fmla="*/ 1031534 w 1645921"/>
              <a:gd name="connsiteY76" fmla="*/ 792496 h 2169949"/>
              <a:gd name="connsiteX77" fmla="*/ 1031242 w 1645921"/>
              <a:gd name="connsiteY77" fmla="*/ 791569 h 2169949"/>
              <a:gd name="connsiteX78" fmla="*/ 1035405 w 1645921"/>
              <a:gd name="connsiteY78" fmla="*/ 783570 h 2169949"/>
              <a:gd name="connsiteX79" fmla="*/ 607714 w 1645921"/>
              <a:gd name="connsiteY79" fmla="*/ 775723 h 2169949"/>
              <a:gd name="connsiteX80" fmla="*/ 607351 w 1645921"/>
              <a:gd name="connsiteY80" fmla="*/ 777720 h 2169949"/>
              <a:gd name="connsiteX81" fmla="*/ 800637 w 1645921"/>
              <a:gd name="connsiteY81" fmla="*/ 928901 h 2169949"/>
              <a:gd name="connsiteX82" fmla="*/ 800637 w 1645921"/>
              <a:gd name="connsiteY82" fmla="*/ 779353 h 2169949"/>
              <a:gd name="connsiteX83" fmla="*/ 607714 w 1645921"/>
              <a:gd name="connsiteY83" fmla="*/ 775723 h 2169949"/>
              <a:gd name="connsiteX84" fmla="*/ 796931 w 1645921"/>
              <a:gd name="connsiteY84" fmla="*/ 594770 h 2169949"/>
              <a:gd name="connsiteX85" fmla="*/ 605840 w 1645921"/>
              <a:gd name="connsiteY85" fmla="*/ 744540 h 2169949"/>
              <a:gd name="connsiteX86" fmla="*/ 799169 w 1645921"/>
              <a:gd name="connsiteY86" fmla="*/ 744540 h 2169949"/>
              <a:gd name="connsiteX87" fmla="*/ 796931 w 1645921"/>
              <a:gd name="connsiteY87" fmla="*/ 594770 h 2169949"/>
              <a:gd name="connsiteX88" fmla="*/ 821693 w 1645921"/>
              <a:gd name="connsiteY88" fmla="*/ 581046 h 2169949"/>
              <a:gd name="connsiteX89" fmla="*/ 824378 w 1645921"/>
              <a:gd name="connsiteY89" fmla="*/ 744391 h 2169949"/>
              <a:gd name="connsiteX90" fmla="*/ 1030536 w 1645921"/>
              <a:gd name="connsiteY90" fmla="*/ 744391 h 2169949"/>
              <a:gd name="connsiteX91" fmla="*/ 821693 w 1645921"/>
              <a:gd name="connsiteY91" fmla="*/ 581046 h 2169949"/>
              <a:gd name="connsiteX92" fmla="*/ 1004245 w 1645921"/>
              <a:gd name="connsiteY92" fmla="*/ 437486 h 2169949"/>
              <a:gd name="connsiteX93" fmla="*/ 993840 w 1645921"/>
              <a:gd name="connsiteY93" fmla="*/ 440376 h 2169949"/>
              <a:gd name="connsiteX94" fmla="*/ 946402 w 1645921"/>
              <a:gd name="connsiteY94" fmla="*/ 477520 h 2169949"/>
              <a:gd name="connsiteX95" fmla="*/ 838102 w 1645921"/>
              <a:gd name="connsiteY95" fmla="*/ 562549 h 2169949"/>
              <a:gd name="connsiteX96" fmla="*/ 1052166 w 1645921"/>
              <a:gd name="connsiteY96" fmla="*/ 729921 h 2169949"/>
              <a:gd name="connsiteX97" fmla="*/ 1040084 w 1645921"/>
              <a:gd name="connsiteY97" fmla="*/ 646831 h 2169949"/>
              <a:gd name="connsiteX98" fmla="*/ 1024122 w 1645921"/>
              <a:gd name="connsiteY98" fmla="*/ 541068 h 2169949"/>
              <a:gd name="connsiteX99" fmla="*/ 1009951 w 1645921"/>
              <a:gd name="connsiteY99" fmla="*/ 446343 h 2169949"/>
              <a:gd name="connsiteX100" fmla="*/ 1004245 w 1645921"/>
              <a:gd name="connsiteY100" fmla="*/ 437486 h 2169949"/>
              <a:gd name="connsiteX101" fmla="*/ 610315 w 1645921"/>
              <a:gd name="connsiteY101" fmla="*/ 415911 h 2169949"/>
              <a:gd name="connsiteX102" fmla="*/ 578243 w 1645921"/>
              <a:gd name="connsiteY102" fmla="*/ 734695 h 2169949"/>
              <a:gd name="connsiteX103" fmla="*/ 581226 w 1645921"/>
              <a:gd name="connsiteY103" fmla="*/ 732905 h 2169949"/>
              <a:gd name="connsiteX104" fmla="*/ 791113 w 1645921"/>
              <a:gd name="connsiteY104" fmla="*/ 568367 h 2169949"/>
              <a:gd name="connsiteX105" fmla="*/ 791113 w 1645921"/>
              <a:gd name="connsiteY105" fmla="*/ 557179 h 2169949"/>
              <a:gd name="connsiteX106" fmla="*/ 644923 w 1645921"/>
              <a:gd name="connsiteY106" fmla="*/ 442763 h 2169949"/>
              <a:gd name="connsiteX107" fmla="*/ 610315 w 1645921"/>
              <a:gd name="connsiteY107" fmla="*/ 415911 h 2169949"/>
              <a:gd name="connsiteX108" fmla="*/ 1030322 w 1645921"/>
              <a:gd name="connsiteY108" fmla="*/ 412680 h 2169949"/>
              <a:gd name="connsiteX109" fmla="*/ 1030686 w 1645921"/>
              <a:gd name="connsiteY109" fmla="*/ 414569 h 2169949"/>
              <a:gd name="connsiteX110" fmla="*/ 1050973 w 1645921"/>
              <a:gd name="connsiteY110" fmla="*/ 551361 h 2169949"/>
              <a:gd name="connsiteX111" fmla="*/ 1068427 w 1645921"/>
              <a:gd name="connsiteY111" fmla="*/ 666821 h 2169949"/>
              <a:gd name="connsiteX112" fmla="*/ 1079316 w 1645921"/>
              <a:gd name="connsiteY112" fmla="*/ 739618 h 2169949"/>
              <a:gd name="connsiteX113" fmla="*/ 1079763 w 1645921"/>
              <a:gd name="connsiteY113" fmla="*/ 743198 h 2169949"/>
              <a:gd name="connsiteX114" fmla="*/ 1080791 w 1645921"/>
              <a:gd name="connsiteY114" fmla="*/ 744748 h 2169949"/>
              <a:gd name="connsiteX115" fmla="*/ 1476534 w 1645921"/>
              <a:gd name="connsiteY115" fmla="*/ 412680 h 2169949"/>
              <a:gd name="connsiteX116" fmla="*/ 820649 w 1645921"/>
              <a:gd name="connsiteY116" fmla="*/ 412680 h 2169949"/>
              <a:gd name="connsiteX117" fmla="*/ 820649 w 1645921"/>
              <a:gd name="connsiteY117" fmla="*/ 545245 h 2169949"/>
              <a:gd name="connsiteX118" fmla="*/ 989779 w 1645921"/>
              <a:gd name="connsiteY118" fmla="*/ 412680 h 2169949"/>
              <a:gd name="connsiteX119" fmla="*/ 646336 w 1645921"/>
              <a:gd name="connsiteY119" fmla="*/ 412680 h 2169949"/>
              <a:gd name="connsiteX120" fmla="*/ 794842 w 1645921"/>
              <a:gd name="connsiteY120" fmla="*/ 528836 h 2169949"/>
              <a:gd name="connsiteX121" fmla="*/ 794842 w 1645921"/>
              <a:gd name="connsiteY121" fmla="*/ 412680 h 2169949"/>
              <a:gd name="connsiteX122" fmla="*/ 171855 w 1645921"/>
              <a:gd name="connsiteY122" fmla="*/ 412680 h 2169949"/>
              <a:gd name="connsiteX123" fmla="*/ 553095 w 1645921"/>
              <a:gd name="connsiteY123" fmla="*/ 732578 h 2169949"/>
              <a:gd name="connsiteX124" fmla="*/ 562729 w 1645921"/>
              <a:gd name="connsiteY124" fmla="*/ 639075 h 2169949"/>
              <a:gd name="connsiteX125" fmla="*/ 570635 w 1645921"/>
              <a:gd name="connsiteY125" fmla="*/ 559864 h 2169949"/>
              <a:gd name="connsiteX126" fmla="*/ 580630 w 1645921"/>
              <a:gd name="connsiteY126" fmla="*/ 462155 h 2169949"/>
              <a:gd name="connsiteX127" fmla="*/ 585568 w 1645921"/>
              <a:gd name="connsiteY127" fmla="*/ 412680 h 2169949"/>
              <a:gd name="connsiteX128" fmla="*/ 789920 w 1645921"/>
              <a:gd name="connsiteY128" fmla="*/ 135167 h 2169949"/>
              <a:gd name="connsiteX129" fmla="*/ 630156 w 1645921"/>
              <a:gd name="connsiteY129" fmla="*/ 377723 h 2169949"/>
              <a:gd name="connsiteX130" fmla="*/ 794395 w 1645921"/>
              <a:gd name="connsiteY130" fmla="*/ 380706 h 2169949"/>
              <a:gd name="connsiteX131" fmla="*/ 791411 w 1645921"/>
              <a:gd name="connsiteY131" fmla="*/ 135764 h 2169949"/>
              <a:gd name="connsiteX132" fmla="*/ 789920 w 1645921"/>
              <a:gd name="connsiteY132" fmla="*/ 135167 h 2169949"/>
              <a:gd name="connsiteX133" fmla="*/ 818262 w 1645921"/>
              <a:gd name="connsiteY133" fmla="*/ 127261 h 2169949"/>
              <a:gd name="connsiteX134" fmla="*/ 816622 w 1645921"/>
              <a:gd name="connsiteY134" fmla="*/ 127559 h 2169949"/>
              <a:gd name="connsiteX135" fmla="*/ 819456 w 1645921"/>
              <a:gd name="connsiteY135" fmla="*/ 381303 h 2169949"/>
              <a:gd name="connsiteX136" fmla="*/ 989513 w 1645921"/>
              <a:gd name="connsiteY136" fmla="*/ 384138 h 2169949"/>
              <a:gd name="connsiteX137" fmla="*/ 818262 w 1645921"/>
              <a:gd name="connsiteY137" fmla="*/ 127261 h 2169949"/>
              <a:gd name="connsiteX138" fmla="*/ 762323 w 1645921"/>
              <a:gd name="connsiteY138" fmla="*/ 118161 h 2169949"/>
              <a:gd name="connsiteX139" fmla="*/ 658647 w 1645921"/>
              <a:gd name="connsiteY139" fmla="*/ 118908 h 2169949"/>
              <a:gd name="connsiteX140" fmla="*/ 642089 w 1645921"/>
              <a:gd name="connsiteY140" fmla="*/ 120101 h 2169949"/>
              <a:gd name="connsiteX141" fmla="*/ 638807 w 1645921"/>
              <a:gd name="connsiteY141" fmla="*/ 135914 h 2169949"/>
              <a:gd name="connsiteX142" fmla="*/ 638658 w 1645921"/>
              <a:gd name="connsiteY142" fmla="*/ 136659 h 2169949"/>
              <a:gd name="connsiteX143" fmla="*/ 628812 w 1645921"/>
              <a:gd name="connsiteY143" fmla="*/ 232876 h 2169949"/>
              <a:gd name="connsiteX144" fmla="*/ 620310 w 1645921"/>
              <a:gd name="connsiteY144" fmla="*/ 316562 h 2169949"/>
              <a:gd name="connsiteX145" fmla="*/ 617028 w 1645921"/>
              <a:gd name="connsiteY145" fmla="*/ 350424 h 2169949"/>
              <a:gd name="connsiteX146" fmla="*/ 618371 w 1645921"/>
              <a:gd name="connsiteY146" fmla="*/ 350723 h 2169949"/>
              <a:gd name="connsiteX147" fmla="*/ 771720 w 1645921"/>
              <a:gd name="connsiteY147" fmla="*/ 118161 h 2169949"/>
              <a:gd name="connsiteX148" fmla="*/ 762323 w 1645921"/>
              <a:gd name="connsiteY148" fmla="*/ 118161 h 2169949"/>
              <a:gd name="connsiteX149" fmla="*/ 954457 w 1645921"/>
              <a:gd name="connsiteY149" fmla="*/ 116819 h 2169949"/>
              <a:gd name="connsiteX150" fmla="*/ 886733 w 1645921"/>
              <a:gd name="connsiteY150" fmla="*/ 117416 h 2169949"/>
              <a:gd name="connsiteX151" fmla="*/ 841384 w 1645921"/>
              <a:gd name="connsiteY151" fmla="*/ 117416 h 2169949"/>
              <a:gd name="connsiteX152" fmla="*/ 993392 w 1645921"/>
              <a:gd name="connsiteY152" fmla="*/ 345800 h 2169949"/>
              <a:gd name="connsiteX153" fmla="*/ 994585 w 1645921"/>
              <a:gd name="connsiteY153" fmla="*/ 345352 h 2169949"/>
              <a:gd name="connsiteX154" fmla="*/ 989513 w 1645921"/>
              <a:gd name="connsiteY154" fmla="*/ 308208 h 2169949"/>
              <a:gd name="connsiteX155" fmla="*/ 961767 w 1645921"/>
              <a:gd name="connsiteY155" fmla="*/ 123233 h 2169949"/>
              <a:gd name="connsiteX156" fmla="*/ 954457 w 1645921"/>
              <a:gd name="connsiteY156" fmla="*/ 116819 h 2169949"/>
              <a:gd name="connsiteX157" fmla="*/ 686185 w 1645921"/>
              <a:gd name="connsiteY157" fmla="*/ 0 h 2169949"/>
              <a:gd name="connsiteX158" fmla="*/ 934104 w 1645921"/>
              <a:gd name="connsiteY158" fmla="*/ 0 h 2169949"/>
              <a:gd name="connsiteX159" fmla="*/ 970742 w 1645921"/>
              <a:gd name="connsiteY159" fmla="*/ 36638 h 2169949"/>
              <a:gd name="connsiteX160" fmla="*/ 961098 w 1645921"/>
              <a:gd name="connsiteY160" fmla="*/ 59922 h 2169949"/>
              <a:gd name="connsiteX161" fmla="*/ 1051055 w 1645921"/>
              <a:gd name="connsiteY161" fmla="*/ 59922 h 2169949"/>
              <a:gd name="connsiteX162" fmla="*/ 1073915 w 1645921"/>
              <a:gd name="connsiteY162" fmla="*/ 82782 h 2169949"/>
              <a:gd name="connsiteX163" fmla="*/ 1073914 w 1645921"/>
              <a:gd name="connsiteY163" fmla="*/ 82782 h 2169949"/>
              <a:gd name="connsiteX164" fmla="*/ 1051054 w 1645921"/>
              <a:gd name="connsiteY164" fmla="*/ 105642 h 2169949"/>
              <a:gd name="connsiteX165" fmla="*/ 984543 w 1645921"/>
              <a:gd name="connsiteY165" fmla="*/ 105642 h 2169949"/>
              <a:gd name="connsiteX166" fmla="*/ 1025912 w 1645921"/>
              <a:gd name="connsiteY166" fmla="*/ 382944 h 2169949"/>
              <a:gd name="connsiteX167" fmla="*/ 1029492 w 1645921"/>
              <a:gd name="connsiteY167" fmla="*/ 382348 h 2169949"/>
              <a:gd name="connsiteX168" fmla="*/ 1029641 w 1645921"/>
              <a:gd name="connsiteY168" fmla="*/ 383839 h 2169949"/>
              <a:gd name="connsiteX169" fmla="*/ 1029470 w 1645921"/>
              <a:gd name="connsiteY169" fmla="*/ 385248 h 2169949"/>
              <a:gd name="connsiteX170" fmla="*/ 1157032 w 1645921"/>
              <a:gd name="connsiteY170" fmla="*/ 385248 h 2169949"/>
              <a:gd name="connsiteX171" fmla="*/ 1157032 w 1645921"/>
              <a:gd name="connsiteY171" fmla="*/ 310832 h 2169949"/>
              <a:gd name="connsiteX172" fmla="*/ 1126536 w 1645921"/>
              <a:gd name="connsiteY172" fmla="*/ 310832 h 2169949"/>
              <a:gd name="connsiteX173" fmla="*/ 1117392 w 1645921"/>
              <a:gd name="connsiteY173" fmla="*/ 301688 h 2169949"/>
              <a:gd name="connsiteX174" fmla="*/ 1126536 w 1645921"/>
              <a:gd name="connsiteY174" fmla="*/ 292544 h 2169949"/>
              <a:gd name="connsiteX175" fmla="*/ 1157032 w 1645921"/>
              <a:gd name="connsiteY175" fmla="*/ 292544 h 2169949"/>
              <a:gd name="connsiteX176" fmla="*/ 1157032 w 1645921"/>
              <a:gd name="connsiteY176" fmla="*/ 282034 h 2169949"/>
              <a:gd name="connsiteX177" fmla="*/ 1126536 w 1645921"/>
              <a:gd name="connsiteY177" fmla="*/ 282034 h 2169949"/>
              <a:gd name="connsiteX178" fmla="*/ 1117392 w 1645921"/>
              <a:gd name="connsiteY178" fmla="*/ 272890 h 2169949"/>
              <a:gd name="connsiteX179" fmla="*/ 1126536 w 1645921"/>
              <a:gd name="connsiteY179" fmla="*/ 263746 h 2169949"/>
              <a:gd name="connsiteX180" fmla="*/ 1157032 w 1645921"/>
              <a:gd name="connsiteY180" fmla="*/ 263746 h 2169949"/>
              <a:gd name="connsiteX181" fmla="*/ 1157032 w 1645921"/>
              <a:gd name="connsiteY181" fmla="*/ 253236 h 2169949"/>
              <a:gd name="connsiteX182" fmla="*/ 1126536 w 1645921"/>
              <a:gd name="connsiteY182" fmla="*/ 253236 h 2169949"/>
              <a:gd name="connsiteX183" fmla="*/ 1117392 w 1645921"/>
              <a:gd name="connsiteY183" fmla="*/ 244092 h 2169949"/>
              <a:gd name="connsiteX184" fmla="*/ 1126536 w 1645921"/>
              <a:gd name="connsiteY184" fmla="*/ 234948 h 2169949"/>
              <a:gd name="connsiteX185" fmla="*/ 1157032 w 1645921"/>
              <a:gd name="connsiteY185" fmla="*/ 234948 h 2169949"/>
              <a:gd name="connsiteX186" fmla="*/ 1157032 w 1645921"/>
              <a:gd name="connsiteY186" fmla="*/ 219866 h 2169949"/>
              <a:gd name="connsiteX187" fmla="*/ 1170748 w 1645921"/>
              <a:gd name="connsiteY187" fmla="*/ 206150 h 2169949"/>
              <a:gd name="connsiteX188" fmla="*/ 1184464 w 1645921"/>
              <a:gd name="connsiteY188" fmla="*/ 219866 h 2169949"/>
              <a:gd name="connsiteX189" fmla="*/ 1184464 w 1645921"/>
              <a:gd name="connsiteY189" fmla="*/ 234948 h 2169949"/>
              <a:gd name="connsiteX190" fmla="*/ 1210556 w 1645921"/>
              <a:gd name="connsiteY190" fmla="*/ 234948 h 2169949"/>
              <a:gd name="connsiteX191" fmla="*/ 1219700 w 1645921"/>
              <a:gd name="connsiteY191" fmla="*/ 244092 h 2169949"/>
              <a:gd name="connsiteX192" fmla="*/ 1210556 w 1645921"/>
              <a:gd name="connsiteY192" fmla="*/ 253236 h 2169949"/>
              <a:gd name="connsiteX193" fmla="*/ 1184464 w 1645921"/>
              <a:gd name="connsiteY193" fmla="*/ 253236 h 2169949"/>
              <a:gd name="connsiteX194" fmla="*/ 1184464 w 1645921"/>
              <a:gd name="connsiteY194" fmla="*/ 263746 h 2169949"/>
              <a:gd name="connsiteX195" fmla="*/ 1210556 w 1645921"/>
              <a:gd name="connsiteY195" fmla="*/ 263746 h 2169949"/>
              <a:gd name="connsiteX196" fmla="*/ 1219700 w 1645921"/>
              <a:gd name="connsiteY196" fmla="*/ 272890 h 2169949"/>
              <a:gd name="connsiteX197" fmla="*/ 1210556 w 1645921"/>
              <a:gd name="connsiteY197" fmla="*/ 282034 h 2169949"/>
              <a:gd name="connsiteX198" fmla="*/ 1184464 w 1645921"/>
              <a:gd name="connsiteY198" fmla="*/ 282034 h 2169949"/>
              <a:gd name="connsiteX199" fmla="*/ 1184464 w 1645921"/>
              <a:gd name="connsiteY199" fmla="*/ 292544 h 2169949"/>
              <a:gd name="connsiteX200" fmla="*/ 1210556 w 1645921"/>
              <a:gd name="connsiteY200" fmla="*/ 292544 h 2169949"/>
              <a:gd name="connsiteX201" fmla="*/ 1219700 w 1645921"/>
              <a:gd name="connsiteY201" fmla="*/ 301688 h 2169949"/>
              <a:gd name="connsiteX202" fmla="*/ 1210556 w 1645921"/>
              <a:gd name="connsiteY202" fmla="*/ 310832 h 2169949"/>
              <a:gd name="connsiteX203" fmla="*/ 1184464 w 1645921"/>
              <a:gd name="connsiteY203" fmla="*/ 310832 h 2169949"/>
              <a:gd name="connsiteX204" fmla="*/ 1184464 w 1645921"/>
              <a:gd name="connsiteY204" fmla="*/ 385248 h 2169949"/>
              <a:gd name="connsiteX205" fmla="*/ 1315794 w 1645921"/>
              <a:gd name="connsiteY205" fmla="*/ 385248 h 2169949"/>
              <a:gd name="connsiteX206" fmla="*/ 1315794 w 1645921"/>
              <a:gd name="connsiteY206" fmla="*/ 310832 h 2169949"/>
              <a:gd name="connsiteX207" fmla="*/ 1286537 w 1645921"/>
              <a:gd name="connsiteY207" fmla="*/ 310832 h 2169949"/>
              <a:gd name="connsiteX208" fmla="*/ 1277393 w 1645921"/>
              <a:gd name="connsiteY208" fmla="*/ 301688 h 2169949"/>
              <a:gd name="connsiteX209" fmla="*/ 1286537 w 1645921"/>
              <a:gd name="connsiteY209" fmla="*/ 292544 h 2169949"/>
              <a:gd name="connsiteX210" fmla="*/ 1315794 w 1645921"/>
              <a:gd name="connsiteY210" fmla="*/ 292544 h 2169949"/>
              <a:gd name="connsiteX211" fmla="*/ 1315794 w 1645921"/>
              <a:gd name="connsiteY211" fmla="*/ 282034 h 2169949"/>
              <a:gd name="connsiteX212" fmla="*/ 1286537 w 1645921"/>
              <a:gd name="connsiteY212" fmla="*/ 282034 h 2169949"/>
              <a:gd name="connsiteX213" fmla="*/ 1277393 w 1645921"/>
              <a:gd name="connsiteY213" fmla="*/ 272890 h 2169949"/>
              <a:gd name="connsiteX214" fmla="*/ 1286537 w 1645921"/>
              <a:gd name="connsiteY214" fmla="*/ 263746 h 2169949"/>
              <a:gd name="connsiteX215" fmla="*/ 1315794 w 1645921"/>
              <a:gd name="connsiteY215" fmla="*/ 263746 h 2169949"/>
              <a:gd name="connsiteX216" fmla="*/ 1315794 w 1645921"/>
              <a:gd name="connsiteY216" fmla="*/ 253236 h 2169949"/>
              <a:gd name="connsiteX217" fmla="*/ 1286537 w 1645921"/>
              <a:gd name="connsiteY217" fmla="*/ 253236 h 2169949"/>
              <a:gd name="connsiteX218" fmla="*/ 1277393 w 1645921"/>
              <a:gd name="connsiteY218" fmla="*/ 244092 h 2169949"/>
              <a:gd name="connsiteX219" fmla="*/ 1286537 w 1645921"/>
              <a:gd name="connsiteY219" fmla="*/ 234948 h 2169949"/>
              <a:gd name="connsiteX220" fmla="*/ 1315794 w 1645921"/>
              <a:gd name="connsiteY220" fmla="*/ 234948 h 2169949"/>
              <a:gd name="connsiteX221" fmla="*/ 1315794 w 1645921"/>
              <a:gd name="connsiteY221" fmla="*/ 219866 h 2169949"/>
              <a:gd name="connsiteX222" fmla="*/ 1329510 w 1645921"/>
              <a:gd name="connsiteY222" fmla="*/ 206150 h 2169949"/>
              <a:gd name="connsiteX223" fmla="*/ 1343226 w 1645921"/>
              <a:gd name="connsiteY223" fmla="*/ 219866 h 2169949"/>
              <a:gd name="connsiteX224" fmla="*/ 1343226 w 1645921"/>
              <a:gd name="connsiteY224" fmla="*/ 234948 h 2169949"/>
              <a:gd name="connsiteX225" fmla="*/ 1370557 w 1645921"/>
              <a:gd name="connsiteY225" fmla="*/ 234948 h 2169949"/>
              <a:gd name="connsiteX226" fmla="*/ 1379701 w 1645921"/>
              <a:gd name="connsiteY226" fmla="*/ 244092 h 2169949"/>
              <a:gd name="connsiteX227" fmla="*/ 1370557 w 1645921"/>
              <a:gd name="connsiteY227" fmla="*/ 253236 h 2169949"/>
              <a:gd name="connsiteX228" fmla="*/ 1343226 w 1645921"/>
              <a:gd name="connsiteY228" fmla="*/ 253236 h 2169949"/>
              <a:gd name="connsiteX229" fmla="*/ 1343226 w 1645921"/>
              <a:gd name="connsiteY229" fmla="*/ 263746 h 2169949"/>
              <a:gd name="connsiteX230" fmla="*/ 1370557 w 1645921"/>
              <a:gd name="connsiteY230" fmla="*/ 263746 h 2169949"/>
              <a:gd name="connsiteX231" fmla="*/ 1379701 w 1645921"/>
              <a:gd name="connsiteY231" fmla="*/ 272890 h 2169949"/>
              <a:gd name="connsiteX232" fmla="*/ 1370557 w 1645921"/>
              <a:gd name="connsiteY232" fmla="*/ 282034 h 2169949"/>
              <a:gd name="connsiteX233" fmla="*/ 1343226 w 1645921"/>
              <a:gd name="connsiteY233" fmla="*/ 282034 h 2169949"/>
              <a:gd name="connsiteX234" fmla="*/ 1343226 w 1645921"/>
              <a:gd name="connsiteY234" fmla="*/ 292544 h 2169949"/>
              <a:gd name="connsiteX235" fmla="*/ 1370557 w 1645921"/>
              <a:gd name="connsiteY235" fmla="*/ 292544 h 2169949"/>
              <a:gd name="connsiteX236" fmla="*/ 1379701 w 1645921"/>
              <a:gd name="connsiteY236" fmla="*/ 301688 h 2169949"/>
              <a:gd name="connsiteX237" fmla="*/ 1370557 w 1645921"/>
              <a:gd name="connsiteY237" fmla="*/ 310832 h 2169949"/>
              <a:gd name="connsiteX238" fmla="*/ 1343226 w 1645921"/>
              <a:gd name="connsiteY238" fmla="*/ 310832 h 2169949"/>
              <a:gd name="connsiteX239" fmla="*/ 1343226 w 1645921"/>
              <a:gd name="connsiteY239" fmla="*/ 385248 h 2169949"/>
              <a:gd name="connsiteX240" fmla="*/ 1497488 w 1645921"/>
              <a:gd name="connsiteY240" fmla="*/ 385248 h 2169949"/>
              <a:gd name="connsiteX241" fmla="*/ 1505347 w 1645921"/>
              <a:gd name="connsiteY241" fmla="*/ 388503 h 2169949"/>
              <a:gd name="connsiteX242" fmla="*/ 1505405 w 1645921"/>
              <a:gd name="connsiteY242" fmla="*/ 388454 h 2169949"/>
              <a:gd name="connsiteX243" fmla="*/ 1524728 w 1645921"/>
              <a:gd name="connsiteY243" fmla="*/ 390145 h 2169949"/>
              <a:gd name="connsiteX244" fmla="*/ 1523038 w 1645921"/>
              <a:gd name="connsiteY244" fmla="*/ 409469 h 2169949"/>
              <a:gd name="connsiteX245" fmla="*/ 1085083 w 1645921"/>
              <a:gd name="connsiteY245" fmla="*/ 776956 h 2169949"/>
              <a:gd name="connsiteX246" fmla="*/ 1087573 w 1645921"/>
              <a:gd name="connsiteY246" fmla="*/ 789880 h 2169949"/>
              <a:gd name="connsiteX247" fmla="*/ 1112255 w 1645921"/>
              <a:gd name="connsiteY247" fmla="*/ 956306 h 2169949"/>
              <a:gd name="connsiteX248" fmla="*/ 1133490 w 1645921"/>
              <a:gd name="connsiteY248" fmla="*/ 1096779 h 2169949"/>
              <a:gd name="connsiteX249" fmla="*/ 1146738 w 1645921"/>
              <a:gd name="connsiteY249" fmla="*/ 1185346 h 2169949"/>
              <a:gd name="connsiteX250" fmla="*/ 1147283 w 1645921"/>
              <a:gd name="connsiteY250" fmla="*/ 1189702 h 2169949"/>
              <a:gd name="connsiteX251" fmla="*/ 1153816 w 1645921"/>
              <a:gd name="connsiteY251" fmla="*/ 1215292 h 2169949"/>
              <a:gd name="connsiteX252" fmla="*/ 1156176 w 1645921"/>
              <a:gd name="connsiteY252" fmla="*/ 1249956 h 2169949"/>
              <a:gd name="connsiteX253" fmla="*/ 1190114 w 1645921"/>
              <a:gd name="connsiteY253" fmla="*/ 1475367 h 2169949"/>
              <a:gd name="connsiteX254" fmla="*/ 1217701 w 1645921"/>
              <a:gd name="connsiteY254" fmla="*/ 1659579 h 2169949"/>
              <a:gd name="connsiteX255" fmla="*/ 1221875 w 1645921"/>
              <a:gd name="connsiteY255" fmla="*/ 1665931 h 2169949"/>
              <a:gd name="connsiteX256" fmla="*/ 1224235 w 1645921"/>
              <a:gd name="connsiteY256" fmla="*/ 1671920 h 2169949"/>
              <a:gd name="connsiteX257" fmla="*/ 1235668 w 1645921"/>
              <a:gd name="connsiteY257" fmla="*/ 1781903 h 2169949"/>
              <a:gd name="connsiteX258" fmla="*/ 1258718 w 1645921"/>
              <a:gd name="connsiteY258" fmla="*/ 1935625 h 2169949"/>
              <a:gd name="connsiteX259" fmla="*/ 1281222 w 1645921"/>
              <a:gd name="connsiteY259" fmla="*/ 2087713 h 2169949"/>
              <a:gd name="connsiteX260" fmla="*/ 1286826 w 1645921"/>
              <a:gd name="connsiteY260" fmla="*/ 2124229 h 2169949"/>
              <a:gd name="connsiteX261" fmla="*/ 1623061 w 1645921"/>
              <a:gd name="connsiteY261" fmla="*/ 2124229 h 2169949"/>
              <a:gd name="connsiteX262" fmla="*/ 1636122 w 1645921"/>
              <a:gd name="connsiteY262" fmla="*/ 2129640 h 2169949"/>
              <a:gd name="connsiteX263" fmla="*/ 1640572 w 1645921"/>
              <a:gd name="connsiteY263" fmla="*/ 2129637 h 2169949"/>
              <a:gd name="connsiteX264" fmla="*/ 1640572 w 1645921"/>
              <a:gd name="connsiteY264" fmla="*/ 2134176 h 2169949"/>
              <a:gd name="connsiteX265" fmla="*/ 1645921 w 1645921"/>
              <a:gd name="connsiteY265" fmla="*/ 2147089 h 2169949"/>
              <a:gd name="connsiteX266" fmla="*/ 1645920 w 1645921"/>
              <a:gd name="connsiteY266" fmla="*/ 2147089 h 2169949"/>
              <a:gd name="connsiteX267" fmla="*/ 1640572 w 1645921"/>
              <a:gd name="connsiteY267" fmla="*/ 2160000 h 2169949"/>
              <a:gd name="connsiteX268" fmla="*/ 1640572 w 1645921"/>
              <a:gd name="connsiteY268" fmla="*/ 2166683 h 2169949"/>
              <a:gd name="connsiteX269" fmla="*/ 1630945 w 1645921"/>
              <a:gd name="connsiteY269" fmla="*/ 2166683 h 2169949"/>
              <a:gd name="connsiteX270" fmla="*/ 1623060 w 1645921"/>
              <a:gd name="connsiteY270" fmla="*/ 2169949 h 2169949"/>
              <a:gd name="connsiteX271" fmla="*/ 22860 w 1645921"/>
              <a:gd name="connsiteY271" fmla="*/ 2169948 h 2169949"/>
              <a:gd name="connsiteX272" fmla="*/ 14978 w 1645921"/>
              <a:gd name="connsiteY272" fmla="*/ 2166683 h 2169949"/>
              <a:gd name="connsiteX273" fmla="*/ 5349 w 1645921"/>
              <a:gd name="connsiteY273" fmla="*/ 2166683 h 2169949"/>
              <a:gd name="connsiteX274" fmla="*/ 5349 w 1645921"/>
              <a:gd name="connsiteY274" fmla="*/ 2160002 h 2169949"/>
              <a:gd name="connsiteX275" fmla="*/ 0 w 1645921"/>
              <a:gd name="connsiteY275" fmla="*/ 2147089 h 2169949"/>
              <a:gd name="connsiteX276" fmla="*/ 6696 w 1645921"/>
              <a:gd name="connsiteY276" fmla="*/ 2130925 h 2169949"/>
              <a:gd name="connsiteX277" fmla="*/ 22860 w 1645921"/>
              <a:gd name="connsiteY277" fmla="*/ 2124229 h 2169949"/>
              <a:gd name="connsiteX278" fmla="*/ 410941 w 1645921"/>
              <a:gd name="connsiteY278" fmla="*/ 2124229 h 2169949"/>
              <a:gd name="connsiteX279" fmla="*/ 415334 w 1645921"/>
              <a:gd name="connsiteY279" fmla="*/ 2082631 h 2169949"/>
              <a:gd name="connsiteX280" fmla="*/ 427676 w 1645921"/>
              <a:gd name="connsiteY280" fmla="*/ 1961033 h 2169949"/>
              <a:gd name="connsiteX281" fmla="*/ 437295 w 1645921"/>
              <a:gd name="connsiteY281" fmla="*/ 1862847 h 2169949"/>
              <a:gd name="connsiteX282" fmla="*/ 449455 w 1645921"/>
              <a:gd name="connsiteY282" fmla="*/ 1745786 h 2169949"/>
              <a:gd name="connsiteX283" fmla="*/ 453447 w 1645921"/>
              <a:gd name="connsiteY283" fmla="*/ 1706221 h 2169949"/>
              <a:gd name="connsiteX284" fmla="*/ 444554 w 1645921"/>
              <a:gd name="connsiteY284" fmla="*/ 1691158 h 2169949"/>
              <a:gd name="connsiteX285" fmla="*/ 458348 w 1645921"/>
              <a:gd name="connsiteY285" fmla="*/ 1653227 h 2169949"/>
              <a:gd name="connsiteX286" fmla="*/ 475045 w 1645921"/>
              <a:gd name="connsiteY286" fmla="*/ 1492971 h 2169949"/>
              <a:gd name="connsiteX287" fmla="*/ 488112 w 1645921"/>
              <a:gd name="connsiteY287" fmla="*/ 1357761 h 2169949"/>
              <a:gd name="connsiteX288" fmla="*/ 501179 w 1645921"/>
              <a:gd name="connsiteY288" fmla="*/ 1231626 h 2169949"/>
              <a:gd name="connsiteX289" fmla="*/ 490834 w 1645921"/>
              <a:gd name="connsiteY289" fmla="*/ 1215473 h 2169949"/>
              <a:gd name="connsiteX290" fmla="*/ 505898 w 1645921"/>
              <a:gd name="connsiteY290" fmla="*/ 1182805 h 2169949"/>
              <a:gd name="connsiteX291" fmla="*/ 518239 w 1645921"/>
              <a:gd name="connsiteY291" fmla="*/ 1063022 h 2169949"/>
              <a:gd name="connsiteX292" fmla="*/ 527858 w 1645921"/>
              <a:gd name="connsiteY292" fmla="*/ 966651 h 2169949"/>
              <a:gd name="connsiteX293" fmla="*/ 540018 w 1645921"/>
              <a:gd name="connsiteY293" fmla="*/ 847775 h 2169949"/>
              <a:gd name="connsiteX294" fmla="*/ 548341 w 1645921"/>
              <a:gd name="connsiteY294" fmla="*/ 764399 h 2169949"/>
              <a:gd name="connsiteX295" fmla="*/ 132037 w 1645921"/>
              <a:gd name="connsiteY295" fmla="*/ 415079 h 2169949"/>
              <a:gd name="connsiteX296" fmla="*/ 129621 w 1645921"/>
              <a:gd name="connsiteY296" fmla="*/ 410438 h 2169949"/>
              <a:gd name="connsiteX297" fmla="*/ 125334 w 1645921"/>
              <a:gd name="connsiteY297" fmla="*/ 408662 h 2169949"/>
              <a:gd name="connsiteX298" fmla="*/ 121316 w 1645921"/>
              <a:gd name="connsiteY298" fmla="*/ 398964 h 2169949"/>
              <a:gd name="connsiteX299" fmla="*/ 135032 w 1645921"/>
              <a:gd name="connsiteY299" fmla="*/ 385248 h 2169949"/>
              <a:gd name="connsiteX300" fmla="*/ 301963 w 1645921"/>
              <a:gd name="connsiteY300" fmla="*/ 385248 h 2169949"/>
              <a:gd name="connsiteX301" fmla="*/ 301963 w 1645921"/>
              <a:gd name="connsiteY301" fmla="*/ 319242 h 2169949"/>
              <a:gd name="connsiteX302" fmla="*/ 274367 w 1645921"/>
              <a:gd name="connsiteY302" fmla="*/ 319242 h 2169949"/>
              <a:gd name="connsiteX303" fmla="*/ 265223 w 1645921"/>
              <a:gd name="connsiteY303" fmla="*/ 310098 h 2169949"/>
              <a:gd name="connsiteX304" fmla="*/ 274367 w 1645921"/>
              <a:gd name="connsiteY304" fmla="*/ 300954 h 2169949"/>
              <a:gd name="connsiteX305" fmla="*/ 301963 w 1645921"/>
              <a:gd name="connsiteY305" fmla="*/ 300954 h 2169949"/>
              <a:gd name="connsiteX306" fmla="*/ 301963 w 1645921"/>
              <a:gd name="connsiteY306" fmla="*/ 290444 h 2169949"/>
              <a:gd name="connsiteX307" fmla="*/ 274367 w 1645921"/>
              <a:gd name="connsiteY307" fmla="*/ 290444 h 2169949"/>
              <a:gd name="connsiteX308" fmla="*/ 265223 w 1645921"/>
              <a:gd name="connsiteY308" fmla="*/ 281300 h 2169949"/>
              <a:gd name="connsiteX309" fmla="*/ 274367 w 1645921"/>
              <a:gd name="connsiteY309" fmla="*/ 272156 h 2169949"/>
              <a:gd name="connsiteX310" fmla="*/ 301963 w 1645921"/>
              <a:gd name="connsiteY310" fmla="*/ 272156 h 2169949"/>
              <a:gd name="connsiteX311" fmla="*/ 301963 w 1645921"/>
              <a:gd name="connsiteY311" fmla="*/ 261646 h 2169949"/>
              <a:gd name="connsiteX312" fmla="*/ 274367 w 1645921"/>
              <a:gd name="connsiteY312" fmla="*/ 261646 h 2169949"/>
              <a:gd name="connsiteX313" fmla="*/ 265223 w 1645921"/>
              <a:gd name="connsiteY313" fmla="*/ 252502 h 2169949"/>
              <a:gd name="connsiteX314" fmla="*/ 274367 w 1645921"/>
              <a:gd name="connsiteY314" fmla="*/ 243358 h 2169949"/>
              <a:gd name="connsiteX315" fmla="*/ 301963 w 1645921"/>
              <a:gd name="connsiteY315" fmla="*/ 243358 h 2169949"/>
              <a:gd name="connsiteX316" fmla="*/ 301963 w 1645921"/>
              <a:gd name="connsiteY316" fmla="*/ 219866 h 2169949"/>
              <a:gd name="connsiteX317" fmla="*/ 315679 w 1645921"/>
              <a:gd name="connsiteY317" fmla="*/ 206150 h 2169949"/>
              <a:gd name="connsiteX318" fmla="*/ 329395 w 1645921"/>
              <a:gd name="connsiteY318" fmla="*/ 219866 h 2169949"/>
              <a:gd name="connsiteX319" fmla="*/ 329395 w 1645921"/>
              <a:gd name="connsiteY319" fmla="*/ 243358 h 2169949"/>
              <a:gd name="connsiteX320" fmla="*/ 358387 w 1645921"/>
              <a:gd name="connsiteY320" fmla="*/ 243358 h 2169949"/>
              <a:gd name="connsiteX321" fmla="*/ 367531 w 1645921"/>
              <a:gd name="connsiteY321" fmla="*/ 252502 h 2169949"/>
              <a:gd name="connsiteX322" fmla="*/ 358387 w 1645921"/>
              <a:gd name="connsiteY322" fmla="*/ 261646 h 2169949"/>
              <a:gd name="connsiteX323" fmla="*/ 329395 w 1645921"/>
              <a:gd name="connsiteY323" fmla="*/ 261646 h 2169949"/>
              <a:gd name="connsiteX324" fmla="*/ 329395 w 1645921"/>
              <a:gd name="connsiteY324" fmla="*/ 272156 h 2169949"/>
              <a:gd name="connsiteX325" fmla="*/ 358387 w 1645921"/>
              <a:gd name="connsiteY325" fmla="*/ 272156 h 2169949"/>
              <a:gd name="connsiteX326" fmla="*/ 367531 w 1645921"/>
              <a:gd name="connsiteY326" fmla="*/ 281300 h 2169949"/>
              <a:gd name="connsiteX327" fmla="*/ 358387 w 1645921"/>
              <a:gd name="connsiteY327" fmla="*/ 290444 h 2169949"/>
              <a:gd name="connsiteX328" fmla="*/ 329395 w 1645921"/>
              <a:gd name="connsiteY328" fmla="*/ 290444 h 2169949"/>
              <a:gd name="connsiteX329" fmla="*/ 329395 w 1645921"/>
              <a:gd name="connsiteY329" fmla="*/ 300954 h 2169949"/>
              <a:gd name="connsiteX330" fmla="*/ 358387 w 1645921"/>
              <a:gd name="connsiteY330" fmla="*/ 300954 h 2169949"/>
              <a:gd name="connsiteX331" fmla="*/ 367531 w 1645921"/>
              <a:gd name="connsiteY331" fmla="*/ 310098 h 2169949"/>
              <a:gd name="connsiteX332" fmla="*/ 358387 w 1645921"/>
              <a:gd name="connsiteY332" fmla="*/ 319242 h 2169949"/>
              <a:gd name="connsiteX333" fmla="*/ 329395 w 1645921"/>
              <a:gd name="connsiteY333" fmla="*/ 319242 h 2169949"/>
              <a:gd name="connsiteX334" fmla="*/ 329395 w 1645921"/>
              <a:gd name="connsiteY334" fmla="*/ 385248 h 2169949"/>
              <a:gd name="connsiteX335" fmla="*/ 447531 w 1645921"/>
              <a:gd name="connsiteY335" fmla="*/ 385248 h 2169949"/>
              <a:gd name="connsiteX336" fmla="*/ 447531 w 1645921"/>
              <a:gd name="connsiteY336" fmla="*/ 315782 h 2169949"/>
              <a:gd name="connsiteX337" fmla="*/ 417009 w 1645921"/>
              <a:gd name="connsiteY337" fmla="*/ 315782 h 2169949"/>
              <a:gd name="connsiteX338" fmla="*/ 407865 w 1645921"/>
              <a:gd name="connsiteY338" fmla="*/ 306638 h 2169949"/>
              <a:gd name="connsiteX339" fmla="*/ 417009 w 1645921"/>
              <a:gd name="connsiteY339" fmla="*/ 297494 h 2169949"/>
              <a:gd name="connsiteX340" fmla="*/ 447531 w 1645921"/>
              <a:gd name="connsiteY340" fmla="*/ 297494 h 2169949"/>
              <a:gd name="connsiteX341" fmla="*/ 447531 w 1645921"/>
              <a:gd name="connsiteY341" fmla="*/ 286984 h 2169949"/>
              <a:gd name="connsiteX342" fmla="*/ 417009 w 1645921"/>
              <a:gd name="connsiteY342" fmla="*/ 286984 h 2169949"/>
              <a:gd name="connsiteX343" fmla="*/ 407865 w 1645921"/>
              <a:gd name="connsiteY343" fmla="*/ 277840 h 2169949"/>
              <a:gd name="connsiteX344" fmla="*/ 417009 w 1645921"/>
              <a:gd name="connsiteY344" fmla="*/ 268696 h 2169949"/>
              <a:gd name="connsiteX345" fmla="*/ 447531 w 1645921"/>
              <a:gd name="connsiteY345" fmla="*/ 268696 h 2169949"/>
              <a:gd name="connsiteX346" fmla="*/ 447531 w 1645921"/>
              <a:gd name="connsiteY346" fmla="*/ 258186 h 2169949"/>
              <a:gd name="connsiteX347" fmla="*/ 417009 w 1645921"/>
              <a:gd name="connsiteY347" fmla="*/ 258186 h 2169949"/>
              <a:gd name="connsiteX348" fmla="*/ 407865 w 1645921"/>
              <a:gd name="connsiteY348" fmla="*/ 249042 h 2169949"/>
              <a:gd name="connsiteX349" fmla="*/ 417009 w 1645921"/>
              <a:gd name="connsiteY349" fmla="*/ 239898 h 2169949"/>
              <a:gd name="connsiteX350" fmla="*/ 447531 w 1645921"/>
              <a:gd name="connsiteY350" fmla="*/ 239898 h 2169949"/>
              <a:gd name="connsiteX351" fmla="*/ 447531 w 1645921"/>
              <a:gd name="connsiteY351" fmla="*/ 219866 h 2169949"/>
              <a:gd name="connsiteX352" fmla="*/ 461247 w 1645921"/>
              <a:gd name="connsiteY352" fmla="*/ 206150 h 2169949"/>
              <a:gd name="connsiteX353" fmla="*/ 474963 w 1645921"/>
              <a:gd name="connsiteY353" fmla="*/ 219866 h 2169949"/>
              <a:gd name="connsiteX354" fmla="*/ 474963 w 1645921"/>
              <a:gd name="connsiteY354" fmla="*/ 239898 h 2169949"/>
              <a:gd name="connsiteX355" fmla="*/ 501029 w 1645921"/>
              <a:gd name="connsiteY355" fmla="*/ 239898 h 2169949"/>
              <a:gd name="connsiteX356" fmla="*/ 510173 w 1645921"/>
              <a:gd name="connsiteY356" fmla="*/ 249042 h 2169949"/>
              <a:gd name="connsiteX357" fmla="*/ 501029 w 1645921"/>
              <a:gd name="connsiteY357" fmla="*/ 258186 h 2169949"/>
              <a:gd name="connsiteX358" fmla="*/ 474963 w 1645921"/>
              <a:gd name="connsiteY358" fmla="*/ 258186 h 2169949"/>
              <a:gd name="connsiteX359" fmla="*/ 474963 w 1645921"/>
              <a:gd name="connsiteY359" fmla="*/ 268696 h 2169949"/>
              <a:gd name="connsiteX360" fmla="*/ 501029 w 1645921"/>
              <a:gd name="connsiteY360" fmla="*/ 268696 h 2169949"/>
              <a:gd name="connsiteX361" fmla="*/ 510173 w 1645921"/>
              <a:gd name="connsiteY361" fmla="*/ 277840 h 2169949"/>
              <a:gd name="connsiteX362" fmla="*/ 501029 w 1645921"/>
              <a:gd name="connsiteY362" fmla="*/ 286984 h 2169949"/>
              <a:gd name="connsiteX363" fmla="*/ 474963 w 1645921"/>
              <a:gd name="connsiteY363" fmla="*/ 286984 h 2169949"/>
              <a:gd name="connsiteX364" fmla="*/ 474963 w 1645921"/>
              <a:gd name="connsiteY364" fmla="*/ 297494 h 2169949"/>
              <a:gd name="connsiteX365" fmla="*/ 501029 w 1645921"/>
              <a:gd name="connsiteY365" fmla="*/ 297494 h 2169949"/>
              <a:gd name="connsiteX366" fmla="*/ 510173 w 1645921"/>
              <a:gd name="connsiteY366" fmla="*/ 306638 h 2169949"/>
              <a:gd name="connsiteX367" fmla="*/ 501029 w 1645921"/>
              <a:gd name="connsiteY367" fmla="*/ 315782 h 2169949"/>
              <a:gd name="connsiteX368" fmla="*/ 474963 w 1645921"/>
              <a:gd name="connsiteY368" fmla="*/ 315782 h 2169949"/>
              <a:gd name="connsiteX369" fmla="*/ 474963 w 1645921"/>
              <a:gd name="connsiteY369" fmla="*/ 385248 h 2169949"/>
              <a:gd name="connsiteX370" fmla="*/ 588306 w 1645921"/>
              <a:gd name="connsiteY370" fmla="*/ 385248 h 2169949"/>
              <a:gd name="connsiteX371" fmla="*/ 588536 w 1645921"/>
              <a:gd name="connsiteY371" fmla="*/ 382944 h 2169949"/>
              <a:gd name="connsiteX372" fmla="*/ 598679 w 1645921"/>
              <a:gd name="connsiteY372" fmla="*/ 284490 h 2169949"/>
              <a:gd name="connsiteX373" fmla="*/ 606437 w 1645921"/>
              <a:gd name="connsiteY373" fmla="*/ 206025 h 2169949"/>
              <a:gd name="connsiteX374" fmla="*/ 616580 w 1645921"/>
              <a:gd name="connsiteY374" fmla="*/ 107571 h 2169949"/>
              <a:gd name="connsiteX375" fmla="*/ 616580 w 1645921"/>
              <a:gd name="connsiteY375" fmla="*/ 105641 h 2169949"/>
              <a:gd name="connsiteX376" fmla="*/ 569236 w 1645921"/>
              <a:gd name="connsiteY376" fmla="*/ 105641 h 2169949"/>
              <a:gd name="connsiteX377" fmla="*/ 553072 w 1645921"/>
              <a:gd name="connsiteY377" fmla="*/ 98945 h 2169949"/>
              <a:gd name="connsiteX378" fmla="*/ 546376 w 1645921"/>
              <a:gd name="connsiteY378" fmla="*/ 82781 h 2169949"/>
              <a:gd name="connsiteX379" fmla="*/ 553072 w 1645921"/>
              <a:gd name="connsiteY379" fmla="*/ 66617 h 2169949"/>
              <a:gd name="connsiteX380" fmla="*/ 569236 w 1645921"/>
              <a:gd name="connsiteY380" fmla="*/ 59922 h 2169949"/>
              <a:gd name="connsiteX381" fmla="*/ 659192 w 1645921"/>
              <a:gd name="connsiteY381" fmla="*/ 59922 h 2169949"/>
              <a:gd name="connsiteX382" fmla="*/ 649547 w 1645921"/>
              <a:gd name="connsiteY382" fmla="*/ 36638 h 2169949"/>
              <a:gd name="connsiteX383" fmla="*/ 686185 w 1645921"/>
              <a:gd name="connsiteY383" fmla="*/ 0 h 21699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</a:cxnLst>
            <a:rect l="l" t="t" r="r" b="b"/>
            <a:pathLst>
              <a:path w="1645921" h="2169949">
                <a:moveTo>
                  <a:pt x="817516" y="1935988"/>
                </a:moveTo>
                <a:lnTo>
                  <a:pt x="513238" y="2124229"/>
                </a:lnTo>
                <a:lnTo>
                  <a:pt x="820226" y="2124229"/>
                </a:lnTo>
                <a:close/>
                <a:moveTo>
                  <a:pt x="848006" y="1933084"/>
                </a:moveTo>
                <a:lnTo>
                  <a:pt x="851058" y="2124229"/>
                </a:lnTo>
                <a:lnTo>
                  <a:pt x="1165501" y="2124229"/>
                </a:lnTo>
                <a:close/>
                <a:moveTo>
                  <a:pt x="483030" y="1713663"/>
                </a:moveTo>
                <a:lnTo>
                  <a:pt x="441567" y="2124229"/>
                </a:lnTo>
                <a:lnTo>
                  <a:pt x="456637" y="2124229"/>
                </a:lnTo>
                <a:lnTo>
                  <a:pt x="806082" y="1908038"/>
                </a:lnTo>
                <a:cubicBezTo>
                  <a:pt x="698096" y="1843065"/>
                  <a:pt x="591198" y="1778817"/>
                  <a:pt x="483030" y="1713663"/>
                </a:cubicBezTo>
                <a:close/>
                <a:moveTo>
                  <a:pt x="1192837" y="1703681"/>
                </a:moveTo>
                <a:cubicBezTo>
                  <a:pt x="1082854" y="1771921"/>
                  <a:pt x="973779" y="1839254"/>
                  <a:pt x="863251" y="1907494"/>
                </a:cubicBezTo>
                <a:lnTo>
                  <a:pt x="1223376" y="2124229"/>
                </a:lnTo>
                <a:lnTo>
                  <a:pt x="1255703" y="2124229"/>
                </a:lnTo>
                <a:close/>
                <a:moveTo>
                  <a:pt x="813705" y="1701321"/>
                </a:moveTo>
                <a:cubicBezTo>
                  <a:pt x="718422" y="1702229"/>
                  <a:pt x="624048" y="1703318"/>
                  <a:pt x="529673" y="1704407"/>
                </a:cubicBezTo>
                <a:cubicBezTo>
                  <a:pt x="529492" y="1705133"/>
                  <a:pt x="529310" y="1705859"/>
                  <a:pt x="529129" y="1706584"/>
                </a:cubicBezTo>
                <a:cubicBezTo>
                  <a:pt x="624411" y="1763935"/>
                  <a:pt x="719874" y="1821286"/>
                  <a:pt x="816608" y="1879544"/>
                </a:cubicBezTo>
                <a:cubicBezTo>
                  <a:pt x="815701" y="1819108"/>
                  <a:pt x="814794" y="1760668"/>
                  <a:pt x="813705" y="1701321"/>
                </a:cubicBezTo>
                <a:close/>
                <a:moveTo>
                  <a:pt x="1143109" y="1697147"/>
                </a:moveTo>
                <a:cubicBezTo>
                  <a:pt x="1043471" y="1698236"/>
                  <a:pt x="944014" y="1699325"/>
                  <a:pt x="844376" y="1700595"/>
                </a:cubicBezTo>
                <a:cubicBezTo>
                  <a:pt x="845284" y="1762120"/>
                  <a:pt x="846191" y="1821467"/>
                  <a:pt x="847280" y="1882630"/>
                </a:cubicBezTo>
                <a:cubicBezTo>
                  <a:pt x="947281" y="1820742"/>
                  <a:pt x="1045467" y="1759943"/>
                  <a:pt x="1143835" y="1699143"/>
                </a:cubicBezTo>
                <a:cubicBezTo>
                  <a:pt x="1143653" y="1698417"/>
                  <a:pt x="1143290" y="1697873"/>
                  <a:pt x="1143109" y="1697147"/>
                </a:cubicBezTo>
                <a:close/>
                <a:moveTo>
                  <a:pt x="840565" y="1456129"/>
                </a:moveTo>
                <a:cubicBezTo>
                  <a:pt x="841835" y="1528906"/>
                  <a:pt x="842924" y="1599506"/>
                  <a:pt x="844195" y="1670287"/>
                </a:cubicBezTo>
                <a:cubicBezTo>
                  <a:pt x="944922" y="1669016"/>
                  <a:pt x="1044923" y="1667927"/>
                  <a:pt x="1144923" y="1666838"/>
                </a:cubicBezTo>
                <a:cubicBezTo>
                  <a:pt x="1145105" y="1666294"/>
                  <a:pt x="1145286" y="1665749"/>
                  <a:pt x="1145649" y="1665205"/>
                </a:cubicBezTo>
                <a:cubicBezTo>
                  <a:pt x="1044378" y="1595876"/>
                  <a:pt x="942925" y="1526365"/>
                  <a:pt x="840565" y="1456129"/>
                </a:cubicBezTo>
                <a:close/>
                <a:moveTo>
                  <a:pt x="810075" y="1455403"/>
                </a:moveTo>
                <a:cubicBezTo>
                  <a:pt x="712252" y="1528362"/>
                  <a:pt x="616062" y="1600413"/>
                  <a:pt x="517695" y="1674098"/>
                </a:cubicBezTo>
                <a:cubicBezTo>
                  <a:pt x="617877" y="1672827"/>
                  <a:pt x="715156" y="1671738"/>
                  <a:pt x="813342" y="1670650"/>
                </a:cubicBezTo>
                <a:cubicBezTo>
                  <a:pt x="812253" y="1598780"/>
                  <a:pt x="811164" y="1527999"/>
                  <a:pt x="810075" y="1455403"/>
                </a:cubicBezTo>
                <a:close/>
                <a:moveTo>
                  <a:pt x="530580" y="1243604"/>
                </a:moveTo>
                <a:cubicBezTo>
                  <a:pt x="516606" y="1382081"/>
                  <a:pt x="502813" y="1518924"/>
                  <a:pt x="488656" y="1658308"/>
                </a:cubicBezTo>
                <a:cubicBezTo>
                  <a:pt x="593013" y="1580268"/>
                  <a:pt x="695010" y="1504042"/>
                  <a:pt x="797915" y="1426909"/>
                </a:cubicBezTo>
                <a:cubicBezTo>
                  <a:pt x="708440" y="1365565"/>
                  <a:pt x="620055" y="1304948"/>
                  <a:pt x="530580" y="1243604"/>
                </a:cubicBezTo>
                <a:close/>
                <a:moveTo>
                  <a:pt x="836935" y="1223277"/>
                </a:moveTo>
                <a:cubicBezTo>
                  <a:pt x="837843" y="1280628"/>
                  <a:pt x="838750" y="1337071"/>
                  <a:pt x="839658" y="1395693"/>
                </a:cubicBezTo>
                <a:cubicBezTo>
                  <a:pt x="917154" y="1337797"/>
                  <a:pt x="993016" y="1280991"/>
                  <a:pt x="1070150" y="1223277"/>
                </a:cubicBezTo>
                <a:cubicBezTo>
                  <a:pt x="991202" y="1223277"/>
                  <a:pt x="914068" y="1223277"/>
                  <a:pt x="836935" y="1223277"/>
                </a:cubicBezTo>
                <a:close/>
                <a:moveTo>
                  <a:pt x="553085" y="1223277"/>
                </a:moveTo>
                <a:cubicBezTo>
                  <a:pt x="639111" y="1282080"/>
                  <a:pt x="723323" y="1339975"/>
                  <a:pt x="809167" y="1398778"/>
                </a:cubicBezTo>
                <a:cubicBezTo>
                  <a:pt x="808260" y="1338886"/>
                  <a:pt x="807352" y="1280991"/>
                  <a:pt x="806445" y="1223277"/>
                </a:cubicBezTo>
                <a:cubicBezTo>
                  <a:pt x="722052" y="1223277"/>
                  <a:pt x="638567" y="1223277"/>
                  <a:pt x="553085" y="1223277"/>
                </a:cubicBezTo>
                <a:close/>
                <a:moveTo>
                  <a:pt x="1121148" y="1222551"/>
                </a:moveTo>
                <a:cubicBezTo>
                  <a:pt x="1029859" y="1290973"/>
                  <a:pt x="940021" y="1358124"/>
                  <a:pt x="849095" y="1426001"/>
                </a:cubicBezTo>
                <a:cubicBezTo>
                  <a:pt x="961800" y="1503135"/>
                  <a:pt x="1073235" y="1579542"/>
                  <a:pt x="1185940" y="1656856"/>
                </a:cubicBezTo>
                <a:cubicBezTo>
                  <a:pt x="1164161" y="1511665"/>
                  <a:pt x="1142746" y="1367925"/>
                  <a:pt x="1121148" y="1222551"/>
                </a:cubicBezTo>
                <a:close/>
                <a:moveTo>
                  <a:pt x="803178" y="1009119"/>
                </a:moveTo>
                <a:cubicBezTo>
                  <a:pt x="724956" y="1070463"/>
                  <a:pt x="648367" y="1130354"/>
                  <a:pt x="570690" y="1191335"/>
                </a:cubicBezTo>
                <a:cubicBezTo>
                  <a:pt x="650001" y="1191335"/>
                  <a:pt x="727315" y="1191335"/>
                  <a:pt x="805901" y="1191335"/>
                </a:cubicBezTo>
                <a:cubicBezTo>
                  <a:pt x="804993" y="1130899"/>
                  <a:pt x="804086" y="1070826"/>
                  <a:pt x="803178" y="1009119"/>
                </a:cubicBezTo>
                <a:close/>
                <a:moveTo>
                  <a:pt x="833305" y="992422"/>
                </a:moveTo>
                <a:cubicBezTo>
                  <a:pt x="834394" y="1059936"/>
                  <a:pt x="835483" y="1125636"/>
                  <a:pt x="836572" y="1191154"/>
                </a:cubicBezTo>
                <a:cubicBezTo>
                  <a:pt x="920421" y="1191154"/>
                  <a:pt x="1003180" y="1191154"/>
                  <a:pt x="1087391" y="1191154"/>
                </a:cubicBezTo>
                <a:cubicBezTo>
                  <a:pt x="1002272" y="1124547"/>
                  <a:pt x="918424" y="1059029"/>
                  <a:pt x="833305" y="992422"/>
                </a:cubicBezTo>
                <a:close/>
                <a:moveTo>
                  <a:pt x="1055404" y="817761"/>
                </a:moveTo>
                <a:cubicBezTo>
                  <a:pt x="1051910" y="816514"/>
                  <a:pt x="1047464" y="817648"/>
                  <a:pt x="1042745" y="821277"/>
                </a:cubicBezTo>
                <a:cubicBezTo>
                  <a:pt x="1023507" y="836341"/>
                  <a:pt x="1004269" y="851405"/>
                  <a:pt x="985031" y="866468"/>
                </a:cubicBezTo>
                <a:cubicBezTo>
                  <a:pt x="941473" y="900770"/>
                  <a:pt x="897916" y="934890"/>
                  <a:pt x="853269" y="969918"/>
                </a:cubicBezTo>
                <a:cubicBezTo>
                  <a:pt x="940384" y="1037976"/>
                  <a:pt x="1026411" y="1105309"/>
                  <a:pt x="1113707" y="1173549"/>
                </a:cubicBezTo>
                <a:cubicBezTo>
                  <a:pt x="1108625" y="1138521"/>
                  <a:pt x="1103907" y="1105490"/>
                  <a:pt x="1099007" y="1072459"/>
                </a:cubicBezTo>
                <a:cubicBezTo>
                  <a:pt x="1092654" y="1029628"/>
                  <a:pt x="1086121" y="986615"/>
                  <a:pt x="1079587" y="943783"/>
                </a:cubicBezTo>
                <a:cubicBezTo>
                  <a:pt x="1073779" y="905307"/>
                  <a:pt x="1068335" y="866831"/>
                  <a:pt x="1062346" y="828537"/>
                </a:cubicBezTo>
                <a:cubicBezTo>
                  <a:pt x="1061439" y="822639"/>
                  <a:pt x="1058898" y="819009"/>
                  <a:pt x="1055404" y="817761"/>
                </a:cubicBezTo>
                <a:close/>
                <a:moveTo>
                  <a:pt x="576134" y="791513"/>
                </a:moveTo>
                <a:cubicBezTo>
                  <a:pt x="563067" y="921460"/>
                  <a:pt x="550181" y="1049773"/>
                  <a:pt x="537114" y="1179357"/>
                </a:cubicBezTo>
                <a:cubicBezTo>
                  <a:pt x="539292" y="1178086"/>
                  <a:pt x="540199" y="1177723"/>
                  <a:pt x="540744" y="1177179"/>
                </a:cubicBezTo>
                <a:cubicBezTo>
                  <a:pt x="625863" y="1110391"/>
                  <a:pt x="710981" y="1043602"/>
                  <a:pt x="796100" y="976996"/>
                </a:cubicBezTo>
                <a:cubicBezTo>
                  <a:pt x="804449" y="970462"/>
                  <a:pt x="804449" y="969918"/>
                  <a:pt x="796100" y="963384"/>
                </a:cubicBezTo>
                <a:cubicBezTo>
                  <a:pt x="736934" y="916923"/>
                  <a:pt x="677587" y="870643"/>
                  <a:pt x="618240" y="824181"/>
                </a:cubicBezTo>
                <a:cubicBezTo>
                  <a:pt x="604628" y="813473"/>
                  <a:pt x="590835" y="802947"/>
                  <a:pt x="576134" y="791513"/>
                </a:cubicBezTo>
                <a:close/>
                <a:moveTo>
                  <a:pt x="832035" y="779716"/>
                </a:moveTo>
                <a:cubicBezTo>
                  <a:pt x="832035" y="836160"/>
                  <a:pt x="832035" y="891151"/>
                  <a:pt x="832035" y="948865"/>
                </a:cubicBezTo>
                <a:lnTo>
                  <a:pt x="1031534" y="792496"/>
                </a:lnTo>
                <a:lnTo>
                  <a:pt x="1031242" y="791569"/>
                </a:lnTo>
                <a:lnTo>
                  <a:pt x="1035405" y="783570"/>
                </a:lnTo>
                <a:close/>
                <a:moveTo>
                  <a:pt x="607714" y="775723"/>
                </a:moveTo>
                <a:cubicBezTo>
                  <a:pt x="607532" y="776449"/>
                  <a:pt x="607532" y="776994"/>
                  <a:pt x="607351" y="777720"/>
                </a:cubicBezTo>
                <a:cubicBezTo>
                  <a:pt x="671598" y="827993"/>
                  <a:pt x="735845" y="878265"/>
                  <a:pt x="800637" y="928901"/>
                </a:cubicBezTo>
                <a:cubicBezTo>
                  <a:pt x="800637" y="878810"/>
                  <a:pt x="800637" y="829626"/>
                  <a:pt x="800637" y="779353"/>
                </a:cubicBezTo>
                <a:cubicBezTo>
                  <a:pt x="735119" y="778083"/>
                  <a:pt x="671417" y="776812"/>
                  <a:pt x="607714" y="775723"/>
                </a:cubicBezTo>
                <a:close/>
                <a:moveTo>
                  <a:pt x="796931" y="594770"/>
                </a:moveTo>
                <a:cubicBezTo>
                  <a:pt x="732637" y="645191"/>
                  <a:pt x="669686" y="694418"/>
                  <a:pt x="605840" y="744540"/>
                </a:cubicBezTo>
                <a:cubicBezTo>
                  <a:pt x="671029" y="744540"/>
                  <a:pt x="734576" y="744540"/>
                  <a:pt x="799169" y="744540"/>
                </a:cubicBezTo>
                <a:cubicBezTo>
                  <a:pt x="798423" y="694866"/>
                  <a:pt x="797677" y="645489"/>
                  <a:pt x="796931" y="594770"/>
                </a:cubicBezTo>
                <a:close/>
                <a:moveTo>
                  <a:pt x="821693" y="581046"/>
                </a:moveTo>
                <a:cubicBezTo>
                  <a:pt x="822588" y="636538"/>
                  <a:pt x="823483" y="690540"/>
                  <a:pt x="824378" y="744391"/>
                </a:cubicBezTo>
                <a:cubicBezTo>
                  <a:pt x="893297" y="744391"/>
                  <a:pt x="961320" y="744391"/>
                  <a:pt x="1030536" y="744391"/>
                </a:cubicBezTo>
                <a:cubicBezTo>
                  <a:pt x="960574" y="689645"/>
                  <a:pt x="891656" y="635793"/>
                  <a:pt x="821693" y="581046"/>
                </a:cubicBezTo>
                <a:close/>
                <a:moveTo>
                  <a:pt x="1004245" y="437486"/>
                </a:moveTo>
                <a:cubicBezTo>
                  <a:pt x="1001373" y="436461"/>
                  <a:pt x="997719" y="437393"/>
                  <a:pt x="993840" y="440376"/>
                </a:cubicBezTo>
                <a:cubicBezTo>
                  <a:pt x="978027" y="452757"/>
                  <a:pt x="962215" y="465139"/>
                  <a:pt x="946402" y="477520"/>
                </a:cubicBezTo>
                <a:cubicBezTo>
                  <a:pt x="910601" y="505714"/>
                  <a:pt x="874799" y="533758"/>
                  <a:pt x="838102" y="562549"/>
                </a:cubicBezTo>
                <a:cubicBezTo>
                  <a:pt x="909705" y="618489"/>
                  <a:pt x="980414" y="673832"/>
                  <a:pt x="1052166" y="729921"/>
                </a:cubicBezTo>
                <a:cubicBezTo>
                  <a:pt x="1047989" y="701130"/>
                  <a:pt x="1044111" y="673981"/>
                  <a:pt x="1040084" y="646831"/>
                </a:cubicBezTo>
                <a:cubicBezTo>
                  <a:pt x="1034862" y="611627"/>
                  <a:pt x="1029492" y="576273"/>
                  <a:pt x="1024122" y="541068"/>
                </a:cubicBezTo>
                <a:cubicBezTo>
                  <a:pt x="1019348" y="509443"/>
                  <a:pt x="1014873" y="477818"/>
                  <a:pt x="1009951" y="446343"/>
                </a:cubicBezTo>
                <a:cubicBezTo>
                  <a:pt x="1009205" y="441495"/>
                  <a:pt x="1007117" y="438511"/>
                  <a:pt x="1004245" y="437486"/>
                </a:cubicBezTo>
                <a:close/>
                <a:moveTo>
                  <a:pt x="610315" y="415911"/>
                </a:moveTo>
                <a:cubicBezTo>
                  <a:pt x="599575" y="522720"/>
                  <a:pt x="588983" y="628185"/>
                  <a:pt x="578243" y="734695"/>
                </a:cubicBezTo>
                <a:cubicBezTo>
                  <a:pt x="580033" y="733650"/>
                  <a:pt x="580778" y="733352"/>
                  <a:pt x="581226" y="732905"/>
                </a:cubicBezTo>
                <a:cubicBezTo>
                  <a:pt x="651189" y="678009"/>
                  <a:pt x="721151" y="623113"/>
                  <a:pt x="791113" y="568367"/>
                </a:cubicBezTo>
                <a:cubicBezTo>
                  <a:pt x="797975" y="562996"/>
                  <a:pt x="797975" y="562549"/>
                  <a:pt x="791113" y="557179"/>
                </a:cubicBezTo>
                <a:cubicBezTo>
                  <a:pt x="742482" y="518991"/>
                  <a:pt x="693703" y="480951"/>
                  <a:pt x="644923" y="442763"/>
                </a:cubicBezTo>
                <a:cubicBezTo>
                  <a:pt x="633735" y="433961"/>
                  <a:pt x="622398" y="425309"/>
                  <a:pt x="610315" y="415911"/>
                </a:cubicBezTo>
                <a:close/>
                <a:moveTo>
                  <a:pt x="1030322" y="412680"/>
                </a:moveTo>
                <a:lnTo>
                  <a:pt x="1030686" y="414569"/>
                </a:lnTo>
                <a:cubicBezTo>
                  <a:pt x="1037100" y="460216"/>
                  <a:pt x="1044111" y="505714"/>
                  <a:pt x="1050973" y="551361"/>
                </a:cubicBezTo>
                <a:cubicBezTo>
                  <a:pt x="1056790" y="589847"/>
                  <a:pt x="1062608" y="628335"/>
                  <a:pt x="1068427" y="666821"/>
                </a:cubicBezTo>
                <a:cubicBezTo>
                  <a:pt x="1072006" y="691136"/>
                  <a:pt x="1075736" y="715302"/>
                  <a:pt x="1079316" y="739618"/>
                </a:cubicBezTo>
                <a:cubicBezTo>
                  <a:pt x="1079465" y="740811"/>
                  <a:pt x="1079167" y="742900"/>
                  <a:pt x="1079763" y="743198"/>
                </a:cubicBezTo>
                <a:lnTo>
                  <a:pt x="1080791" y="744748"/>
                </a:lnTo>
                <a:lnTo>
                  <a:pt x="1476534" y="412680"/>
                </a:lnTo>
                <a:close/>
                <a:moveTo>
                  <a:pt x="820649" y="412680"/>
                </a:moveTo>
                <a:lnTo>
                  <a:pt x="820649" y="545245"/>
                </a:lnTo>
                <a:lnTo>
                  <a:pt x="989779" y="412680"/>
                </a:lnTo>
                <a:close/>
                <a:moveTo>
                  <a:pt x="646336" y="412680"/>
                </a:moveTo>
                <a:lnTo>
                  <a:pt x="794842" y="528836"/>
                </a:lnTo>
                <a:lnTo>
                  <a:pt x="794842" y="412680"/>
                </a:lnTo>
                <a:close/>
                <a:moveTo>
                  <a:pt x="171855" y="412680"/>
                </a:moveTo>
                <a:lnTo>
                  <a:pt x="553095" y="732578"/>
                </a:lnTo>
                <a:lnTo>
                  <a:pt x="562729" y="639075"/>
                </a:lnTo>
                <a:cubicBezTo>
                  <a:pt x="565414" y="612671"/>
                  <a:pt x="567950" y="586267"/>
                  <a:pt x="570635" y="559864"/>
                </a:cubicBezTo>
                <a:cubicBezTo>
                  <a:pt x="573917" y="527344"/>
                  <a:pt x="577348" y="494675"/>
                  <a:pt x="580630" y="462155"/>
                </a:cubicBezTo>
                <a:lnTo>
                  <a:pt x="585568" y="412680"/>
                </a:lnTo>
                <a:close/>
                <a:moveTo>
                  <a:pt x="789920" y="135167"/>
                </a:moveTo>
                <a:cubicBezTo>
                  <a:pt x="736814" y="215721"/>
                  <a:pt x="683708" y="296274"/>
                  <a:pt x="630156" y="377723"/>
                </a:cubicBezTo>
                <a:cubicBezTo>
                  <a:pt x="685648" y="378767"/>
                  <a:pt x="739798" y="379662"/>
                  <a:pt x="794395" y="380706"/>
                </a:cubicBezTo>
                <a:cubicBezTo>
                  <a:pt x="793350" y="298512"/>
                  <a:pt x="792455" y="217063"/>
                  <a:pt x="791411" y="135764"/>
                </a:cubicBezTo>
                <a:cubicBezTo>
                  <a:pt x="790964" y="135615"/>
                  <a:pt x="790368" y="135466"/>
                  <a:pt x="789920" y="135167"/>
                </a:cubicBezTo>
                <a:close/>
                <a:moveTo>
                  <a:pt x="818262" y="127261"/>
                </a:moveTo>
                <a:cubicBezTo>
                  <a:pt x="817666" y="127411"/>
                  <a:pt x="817069" y="127411"/>
                  <a:pt x="816622" y="127559"/>
                </a:cubicBezTo>
                <a:cubicBezTo>
                  <a:pt x="817517" y="211842"/>
                  <a:pt x="818561" y="296126"/>
                  <a:pt x="819456" y="381303"/>
                </a:cubicBezTo>
                <a:cubicBezTo>
                  <a:pt x="876291" y="382198"/>
                  <a:pt x="932231" y="383243"/>
                  <a:pt x="989513" y="384138"/>
                </a:cubicBezTo>
                <a:cubicBezTo>
                  <a:pt x="931634" y="297319"/>
                  <a:pt x="874948" y="212290"/>
                  <a:pt x="818262" y="127261"/>
                </a:cubicBezTo>
                <a:close/>
                <a:moveTo>
                  <a:pt x="762323" y="118161"/>
                </a:moveTo>
                <a:cubicBezTo>
                  <a:pt x="727715" y="118460"/>
                  <a:pt x="693256" y="118609"/>
                  <a:pt x="658647" y="118908"/>
                </a:cubicBezTo>
                <a:cubicBezTo>
                  <a:pt x="652979" y="118908"/>
                  <a:pt x="645520" y="117267"/>
                  <a:pt x="642089" y="120101"/>
                </a:cubicBezTo>
                <a:cubicBezTo>
                  <a:pt x="638807" y="122786"/>
                  <a:pt x="639702" y="130543"/>
                  <a:pt x="638807" y="135914"/>
                </a:cubicBezTo>
                <a:cubicBezTo>
                  <a:pt x="638807" y="136212"/>
                  <a:pt x="638658" y="136361"/>
                  <a:pt x="638658" y="136659"/>
                </a:cubicBezTo>
                <a:cubicBezTo>
                  <a:pt x="635376" y="168732"/>
                  <a:pt x="632094" y="200804"/>
                  <a:pt x="628812" y="232876"/>
                </a:cubicBezTo>
                <a:cubicBezTo>
                  <a:pt x="625978" y="260772"/>
                  <a:pt x="623144" y="288666"/>
                  <a:pt x="620310" y="316562"/>
                </a:cubicBezTo>
                <a:cubicBezTo>
                  <a:pt x="619116" y="327899"/>
                  <a:pt x="618221" y="339236"/>
                  <a:pt x="617028" y="350424"/>
                </a:cubicBezTo>
                <a:cubicBezTo>
                  <a:pt x="617475" y="350574"/>
                  <a:pt x="617923" y="350574"/>
                  <a:pt x="618371" y="350723"/>
                </a:cubicBezTo>
                <a:cubicBezTo>
                  <a:pt x="669239" y="273749"/>
                  <a:pt x="719957" y="196627"/>
                  <a:pt x="771720" y="118161"/>
                </a:cubicBezTo>
                <a:cubicBezTo>
                  <a:pt x="767544" y="118161"/>
                  <a:pt x="765007" y="118161"/>
                  <a:pt x="762323" y="118161"/>
                </a:cubicBezTo>
                <a:close/>
                <a:moveTo>
                  <a:pt x="954457" y="116819"/>
                </a:moveTo>
                <a:cubicBezTo>
                  <a:pt x="931932" y="117117"/>
                  <a:pt x="909258" y="117267"/>
                  <a:pt x="886733" y="117416"/>
                </a:cubicBezTo>
                <a:cubicBezTo>
                  <a:pt x="872264" y="117416"/>
                  <a:pt x="857644" y="117416"/>
                  <a:pt x="841384" y="117416"/>
                </a:cubicBezTo>
                <a:cubicBezTo>
                  <a:pt x="892700" y="194688"/>
                  <a:pt x="943121" y="270170"/>
                  <a:pt x="993392" y="345800"/>
                </a:cubicBezTo>
                <a:cubicBezTo>
                  <a:pt x="993840" y="345651"/>
                  <a:pt x="994138" y="345502"/>
                  <a:pt x="994585" y="345352"/>
                </a:cubicBezTo>
                <a:cubicBezTo>
                  <a:pt x="992945" y="332971"/>
                  <a:pt x="991303" y="320590"/>
                  <a:pt x="989513" y="308208"/>
                </a:cubicBezTo>
                <a:cubicBezTo>
                  <a:pt x="980265" y="246600"/>
                  <a:pt x="970867" y="184842"/>
                  <a:pt x="961767" y="123233"/>
                </a:cubicBezTo>
                <a:cubicBezTo>
                  <a:pt x="961021" y="118013"/>
                  <a:pt x="959231" y="116819"/>
                  <a:pt x="954457" y="116819"/>
                </a:cubicBezTo>
                <a:close/>
                <a:moveTo>
                  <a:pt x="686185" y="0"/>
                </a:moveTo>
                <a:lnTo>
                  <a:pt x="934104" y="0"/>
                </a:lnTo>
                <a:cubicBezTo>
                  <a:pt x="954339" y="0"/>
                  <a:pt x="970742" y="16403"/>
                  <a:pt x="970742" y="36638"/>
                </a:cubicBezTo>
                <a:lnTo>
                  <a:pt x="961098" y="59922"/>
                </a:lnTo>
                <a:lnTo>
                  <a:pt x="1051055" y="59922"/>
                </a:lnTo>
                <a:cubicBezTo>
                  <a:pt x="1063680" y="59922"/>
                  <a:pt x="1073915" y="70157"/>
                  <a:pt x="1073915" y="82782"/>
                </a:cubicBezTo>
                <a:lnTo>
                  <a:pt x="1073914" y="82782"/>
                </a:lnTo>
                <a:cubicBezTo>
                  <a:pt x="1073914" y="95407"/>
                  <a:pt x="1063679" y="105642"/>
                  <a:pt x="1051054" y="105642"/>
                </a:cubicBezTo>
                <a:lnTo>
                  <a:pt x="984543" y="105642"/>
                </a:lnTo>
                <a:lnTo>
                  <a:pt x="1025912" y="382944"/>
                </a:lnTo>
                <a:cubicBezTo>
                  <a:pt x="1027254" y="382795"/>
                  <a:pt x="1028447" y="382646"/>
                  <a:pt x="1029492" y="382348"/>
                </a:cubicBezTo>
                <a:cubicBezTo>
                  <a:pt x="1029492" y="382944"/>
                  <a:pt x="1029791" y="383541"/>
                  <a:pt x="1029641" y="383839"/>
                </a:cubicBezTo>
                <a:lnTo>
                  <a:pt x="1029470" y="385248"/>
                </a:lnTo>
                <a:lnTo>
                  <a:pt x="1157032" y="385248"/>
                </a:lnTo>
                <a:lnTo>
                  <a:pt x="1157032" y="310832"/>
                </a:lnTo>
                <a:lnTo>
                  <a:pt x="1126536" y="310832"/>
                </a:lnTo>
                <a:cubicBezTo>
                  <a:pt x="1121486" y="310832"/>
                  <a:pt x="1117392" y="306738"/>
                  <a:pt x="1117392" y="301688"/>
                </a:cubicBezTo>
                <a:cubicBezTo>
                  <a:pt x="1117392" y="296638"/>
                  <a:pt x="1121486" y="292544"/>
                  <a:pt x="1126536" y="292544"/>
                </a:cubicBezTo>
                <a:lnTo>
                  <a:pt x="1157032" y="292544"/>
                </a:lnTo>
                <a:lnTo>
                  <a:pt x="1157032" y="282034"/>
                </a:lnTo>
                <a:lnTo>
                  <a:pt x="1126536" y="282034"/>
                </a:lnTo>
                <a:cubicBezTo>
                  <a:pt x="1121486" y="282034"/>
                  <a:pt x="1117392" y="277940"/>
                  <a:pt x="1117392" y="272890"/>
                </a:cubicBezTo>
                <a:cubicBezTo>
                  <a:pt x="1117392" y="267840"/>
                  <a:pt x="1121486" y="263746"/>
                  <a:pt x="1126536" y="263746"/>
                </a:cubicBezTo>
                <a:lnTo>
                  <a:pt x="1157032" y="263746"/>
                </a:lnTo>
                <a:lnTo>
                  <a:pt x="1157032" y="253236"/>
                </a:lnTo>
                <a:lnTo>
                  <a:pt x="1126536" y="253236"/>
                </a:lnTo>
                <a:cubicBezTo>
                  <a:pt x="1121486" y="253236"/>
                  <a:pt x="1117392" y="249142"/>
                  <a:pt x="1117392" y="244092"/>
                </a:cubicBezTo>
                <a:cubicBezTo>
                  <a:pt x="1117392" y="239042"/>
                  <a:pt x="1121486" y="234948"/>
                  <a:pt x="1126536" y="234948"/>
                </a:cubicBezTo>
                <a:lnTo>
                  <a:pt x="1157032" y="234948"/>
                </a:lnTo>
                <a:lnTo>
                  <a:pt x="1157032" y="219866"/>
                </a:lnTo>
                <a:cubicBezTo>
                  <a:pt x="1157032" y="212291"/>
                  <a:pt x="1163173" y="206150"/>
                  <a:pt x="1170748" y="206150"/>
                </a:cubicBezTo>
                <a:cubicBezTo>
                  <a:pt x="1178323" y="206150"/>
                  <a:pt x="1184464" y="212291"/>
                  <a:pt x="1184464" y="219866"/>
                </a:cubicBezTo>
                <a:lnTo>
                  <a:pt x="1184464" y="234948"/>
                </a:lnTo>
                <a:lnTo>
                  <a:pt x="1210556" y="234948"/>
                </a:lnTo>
                <a:cubicBezTo>
                  <a:pt x="1215606" y="234948"/>
                  <a:pt x="1219700" y="239042"/>
                  <a:pt x="1219700" y="244092"/>
                </a:cubicBezTo>
                <a:cubicBezTo>
                  <a:pt x="1219700" y="249142"/>
                  <a:pt x="1215606" y="253236"/>
                  <a:pt x="1210556" y="253236"/>
                </a:cubicBezTo>
                <a:lnTo>
                  <a:pt x="1184464" y="253236"/>
                </a:lnTo>
                <a:lnTo>
                  <a:pt x="1184464" y="263746"/>
                </a:lnTo>
                <a:lnTo>
                  <a:pt x="1210556" y="263746"/>
                </a:lnTo>
                <a:cubicBezTo>
                  <a:pt x="1215606" y="263746"/>
                  <a:pt x="1219700" y="267840"/>
                  <a:pt x="1219700" y="272890"/>
                </a:cubicBezTo>
                <a:cubicBezTo>
                  <a:pt x="1219700" y="277940"/>
                  <a:pt x="1215606" y="282034"/>
                  <a:pt x="1210556" y="282034"/>
                </a:cubicBezTo>
                <a:lnTo>
                  <a:pt x="1184464" y="282034"/>
                </a:lnTo>
                <a:lnTo>
                  <a:pt x="1184464" y="292544"/>
                </a:lnTo>
                <a:lnTo>
                  <a:pt x="1210556" y="292544"/>
                </a:lnTo>
                <a:cubicBezTo>
                  <a:pt x="1215606" y="292544"/>
                  <a:pt x="1219700" y="296638"/>
                  <a:pt x="1219700" y="301688"/>
                </a:cubicBezTo>
                <a:cubicBezTo>
                  <a:pt x="1219700" y="306738"/>
                  <a:pt x="1215606" y="310832"/>
                  <a:pt x="1210556" y="310832"/>
                </a:cubicBezTo>
                <a:lnTo>
                  <a:pt x="1184464" y="310832"/>
                </a:lnTo>
                <a:lnTo>
                  <a:pt x="1184464" y="385248"/>
                </a:lnTo>
                <a:lnTo>
                  <a:pt x="1315794" y="385248"/>
                </a:lnTo>
                <a:lnTo>
                  <a:pt x="1315794" y="310832"/>
                </a:lnTo>
                <a:lnTo>
                  <a:pt x="1286537" y="310832"/>
                </a:lnTo>
                <a:cubicBezTo>
                  <a:pt x="1281487" y="310832"/>
                  <a:pt x="1277393" y="306738"/>
                  <a:pt x="1277393" y="301688"/>
                </a:cubicBezTo>
                <a:cubicBezTo>
                  <a:pt x="1277393" y="296638"/>
                  <a:pt x="1281487" y="292544"/>
                  <a:pt x="1286537" y="292544"/>
                </a:cubicBezTo>
                <a:lnTo>
                  <a:pt x="1315794" y="292544"/>
                </a:lnTo>
                <a:lnTo>
                  <a:pt x="1315794" y="282034"/>
                </a:lnTo>
                <a:lnTo>
                  <a:pt x="1286537" y="282034"/>
                </a:lnTo>
                <a:cubicBezTo>
                  <a:pt x="1281487" y="282034"/>
                  <a:pt x="1277393" y="277940"/>
                  <a:pt x="1277393" y="272890"/>
                </a:cubicBezTo>
                <a:cubicBezTo>
                  <a:pt x="1277393" y="267840"/>
                  <a:pt x="1281487" y="263746"/>
                  <a:pt x="1286537" y="263746"/>
                </a:cubicBezTo>
                <a:lnTo>
                  <a:pt x="1315794" y="263746"/>
                </a:lnTo>
                <a:lnTo>
                  <a:pt x="1315794" y="253236"/>
                </a:lnTo>
                <a:lnTo>
                  <a:pt x="1286537" y="253236"/>
                </a:lnTo>
                <a:cubicBezTo>
                  <a:pt x="1281487" y="253236"/>
                  <a:pt x="1277393" y="249142"/>
                  <a:pt x="1277393" y="244092"/>
                </a:cubicBezTo>
                <a:cubicBezTo>
                  <a:pt x="1277393" y="239042"/>
                  <a:pt x="1281487" y="234948"/>
                  <a:pt x="1286537" y="234948"/>
                </a:cubicBezTo>
                <a:lnTo>
                  <a:pt x="1315794" y="234948"/>
                </a:lnTo>
                <a:lnTo>
                  <a:pt x="1315794" y="219866"/>
                </a:lnTo>
                <a:cubicBezTo>
                  <a:pt x="1315794" y="212291"/>
                  <a:pt x="1321935" y="206150"/>
                  <a:pt x="1329510" y="206150"/>
                </a:cubicBezTo>
                <a:cubicBezTo>
                  <a:pt x="1337085" y="206150"/>
                  <a:pt x="1343226" y="212291"/>
                  <a:pt x="1343226" y="219866"/>
                </a:cubicBezTo>
                <a:lnTo>
                  <a:pt x="1343226" y="234948"/>
                </a:lnTo>
                <a:lnTo>
                  <a:pt x="1370557" y="234948"/>
                </a:lnTo>
                <a:cubicBezTo>
                  <a:pt x="1375607" y="234948"/>
                  <a:pt x="1379701" y="239042"/>
                  <a:pt x="1379701" y="244092"/>
                </a:cubicBezTo>
                <a:cubicBezTo>
                  <a:pt x="1379701" y="249142"/>
                  <a:pt x="1375607" y="253236"/>
                  <a:pt x="1370557" y="253236"/>
                </a:cubicBezTo>
                <a:lnTo>
                  <a:pt x="1343226" y="253236"/>
                </a:lnTo>
                <a:lnTo>
                  <a:pt x="1343226" y="263746"/>
                </a:lnTo>
                <a:lnTo>
                  <a:pt x="1370557" y="263746"/>
                </a:lnTo>
                <a:cubicBezTo>
                  <a:pt x="1375607" y="263746"/>
                  <a:pt x="1379701" y="267840"/>
                  <a:pt x="1379701" y="272890"/>
                </a:cubicBezTo>
                <a:cubicBezTo>
                  <a:pt x="1379701" y="277940"/>
                  <a:pt x="1375607" y="282034"/>
                  <a:pt x="1370557" y="282034"/>
                </a:cubicBezTo>
                <a:lnTo>
                  <a:pt x="1343226" y="282034"/>
                </a:lnTo>
                <a:lnTo>
                  <a:pt x="1343226" y="292544"/>
                </a:lnTo>
                <a:lnTo>
                  <a:pt x="1370557" y="292544"/>
                </a:lnTo>
                <a:cubicBezTo>
                  <a:pt x="1375607" y="292544"/>
                  <a:pt x="1379701" y="296638"/>
                  <a:pt x="1379701" y="301688"/>
                </a:cubicBezTo>
                <a:cubicBezTo>
                  <a:pt x="1379701" y="306738"/>
                  <a:pt x="1375607" y="310832"/>
                  <a:pt x="1370557" y="310832"/>
                </a:cubicBezTo>
                <a:lnTo>
                  <a:pt x="1343226" y="310832"/>
                </a:lnTo>
                <a:lnTo>
                  <a:pt x="1343226" y="385248"/>
                </a:lnTo>
                <a:lnTo>
                  <a:pt x="1497488" y="385248"/>
                </a:lnTo>
                <a:lnTo>
                  <a:pt x="1505347" y="388503"/>
                </a:lnTo>
                <a:lnTo>
                  <a:pt x="1505405" y="388454"/>
                </a:lnTo>
                <a:cubicBezTo>
                  <a:pt x="1511207" y="383585"/>
                  <a:pt x="1519859" y="384342"/>
                  <a:pt x="1524728" y="390145"/>
                </a:cubicBezTo>
                <a:cubicBezTo>
                  <a:pt x="1529597" y="395948"/>
                  <a:pt x="1528840" y="404599"/>
                  <a:pt x="1523038" y="409469"/>
                </a:cubicBezTo>
                <a:lnTo>
                  <a:pt x="1085083" y="776956"/>
                </a:lnTo>
                <a:lnTo>
                  <a:pt x="1087573" y="789880"/>
                </a:lnTo>
                <a:cubicBezTo>
                  <a:pt x="1095377" y="845416"/>
                  <a:pt x="1103907" y="900770"/>
                  <a:pt x="1112255" y="956306"/>
                </a:cubicBezTo>
                <a:cubicBezTo>
                  <a:pt x="1119333" y="1003130"/>
                  <a:pt x="1126411" y="1049955"/>
                  <a:pt x="1133490" y="1096779"/>
                </a:cubicBezTo>
                <a:cubicBezTo>
                  <a:pt x="1137845" y="1126362"/>
                  <a:pt x="1142383" y="1155763"/>
                  <a:pt x="1146738" y="1185346"/>
                </a:cubicBezTo>
                <a:cubicBezTo>
                  <a:pt x="1146920" y="1186798"/>
                  <a:pt x="1146557" y="1189339"/>
                  <a:pt x="1147283" y="1189702"/>
                </a:cubicBezTo>
                <a:cubicBezTo>
                  <a:pt x="1160532" y="1195328"/>
                  <a:pt x="1152546" y="1206762"/>
                  <a:pt x="1153816" y="1215292"/>
                </a:cubicBezTo>
                <a:cubicBezTo>
                  <a:pt x="1155450" y="1226726"/>
                  <a:pt x="1154542" y="1238522"/>
                  <a:pt x="1156176" y="1249956"/>
                </a:cubicBezTo>
                <a:cubicBezTo>
                  <a:pt x="1167247" y="1325093"/>
                  <a:pt x="1178862" y="1400230"/>
                  <a:pt x="1190114" y="1475367"/>
                </a:cubicBezTo>
                <a:cubicBezTo>
                  <a:pt x="1199370" y="1536710"/>
                  <a:pt x="1208445" y="1598235"/>
                  <a:pt x="1217701" y="1659579"/>
                </a:cubicBezTo>
                <a:cubicBezTo>
                  <a:pt x="1218064" y="1661756"/>
                  <a:pt x="1220605" y="1663753"/>
                  <a:pt x="1221875" y="1665931"/>
                </a:cubicBezTo>
                <a:cubicBezTo>
                  <a:pt x="1222964" y="1667746"/>
                  <a:pt x="1224416" y="1669924"/>
                  <a:pt x="1224235" y="1671920"/>
                </a:cubicBezTo>
                <a:cubicBezTo>
                  <a:pt x="1221875" y="1709307"/>
                  <a:pt x="1230587" y="1745423"/>
                  <a:pt x="1235668" y="1781903"/>
                </a:cubicBezTo>
                <a:cubicBezTo>
                  <a:pt x="1242928" y="1833264"/>
                  <a:pt x="1251095" y="1884444"/>
                  <a:pt x="1258718" y="1935625"/>
                </a:cubicBezTo>
                <a:cubicBezTo>
                  <a:pt x="1266340" y="1986260"/>
                  <a:pt x="1273600" y="2037077"/>
                  <a:pt x="1281222" y="2087713"/>
                </a:cubicBezTo>
                <a:lnTo>
                  <a:pt x="1286826" y="2124229"/>
                </a:lnTo>
                <a:lnTo>
                  <a:pt x="1623061" y="2124229"/>
                </a:lnTo>
                <a:lnTo>
                  <a:pt x="1636122" y="2129640"/>
                </a:lnTo>
                <a:lnTo>
                  <a:pt x="1640572" y="2129637"/>
                </a:lnTo>
                <a:lnTo>
                  <a:pt x="1640572" y="2134176"/>
                </a:lnTo>
                <a:lnTo>
                  <a:pt x="1645921" y="2147089"/>
                </a:lnTo>
                <a:lnTo>
                  <a:pt x="1645920" y="2147089"/>
                </a:lnTo>
                <a:lnTo>
                  <a:pt x="1640572" y="2160000"/>
                </a:lnTo>
                <a:lnTo>
                  <a:pt x="1640572" y="2166683"/>
                </a:lnTo>
                <a:lnTo>
                  <a:pt x="1630945" y="2166683"/>
                </a:lnTo>
                <a:lnTo>
                  <a:pt x="1623060" y="2169949"/>
                </a:lnTo>
                <a:lnTo>
                  <a:pt x="22860" y="2169948"/>
                </a:lnTo>
                <a:lnTo>
                  <a:pt x="14978" y="2166683"/>
                </a:lnTo>
                <a:lnTo>
                  <a:pt x="5349" y="2166683"/>
                </a:lnTo>
                <a:lnTo>
                  <a:pt x="5349" y="2160002"/>
                </a:lnTo>
                <a:lnTo>
                  <a:pt x="0" y="2147089"/>
                </a:lnTo>
                <a:lnTo>
                  <a:pt x="6696" y="2130925"/>
                </a:lnTo>
                <a:cubicBezTo>
                  <a:pt x="10833" y="2126788"/>
                  <a:pt x="16548" y="2124229"/>
                  <a:pt x="22860" y="2124229"/>
                </a:cubicBezTo>
                <a:lnTo>
                  <a:pt x="410941" y="2124229"/>
                </a:lnTo>
                <a:lnTo>
                  <a:pt x="415334" y="2082631"/>
                </a:lnTo>
                <a:cubicBezTo>
                  <a:pt x="419509" y="2042159"/>
                  <a:pt x="423683" y="2001505"/>
                  <a:pt x="427676" y="1961033"/>
                </a:cubicBezTo>
                <a:cubicBezTo>
                  <a:pt x="430943" y="1928365"/>
                  <a:pt x="433846" y="1895515"/>
                  <a:pt x="437295" y="1862847"/>
                </a:cubicBezTo>
                <a:cubicBezTo>
                  <a:pt x="441287" y="1823827"/>
                  <a:pt x="445462" y="1784807"/>
                  <a:pt x="449455" y="1745786"/>
                </a:cubicBezTo>
                <a:cubicBezTo>
                  <a:pt x="450906" y="1732538"/>
                  <a:pt x="451995" y="1719289"/>
                  <a:pt x="453447" y="1706221"/>
                </a:cubicBezTo>
                <a:cubicBezTo>
                  <a:pt x="454173" y="1699688"/>
                  <a:pt x="454173" y="1693517"/>
                  <a:pt x="444554" y="1691158"/>
                </a:cubicBezTo>
                <a:cubicBezTo>
                  <a:pt x="461977" y="1681902"/>
                  <a:pt x="456896" y="1666112"/>
                  <a:pt x="458348" y="1653227"/>
                </a:cubicBezTo>
                <a:cubicBezTo>
                  <a:pt x="464700" y="1599869"/>
                  <a:pt x="469600" y="1546329"/>
                  <a:pt x="475045" y="1492971"/>
                </a:cubicBezTo>
                <a:cubicBezTo>
                  <a:pt x="479582" y="1447962"/>
                  <a:pt x="483756" y="1402771"/>
                  <a:pt x="488112" y="1357761"/>
                </a:cubicBezTo>
                <a:cubicBezTo>
                  <a:pt x="492286" y="1315656"/>
                  <a:pt x="496097" y="1273550"/>
                  <a:pt x="501179" y="1231626"/>
                </a:cubicBezTo>
                <a:cubicBezTo>
                  <a:pt x="502450" y="1222007"/>
                  <a:pt x="495190" y="1221099"/>
                  <a:pt x="490834" y="1215473"/>
                </a:cubicBezTo>
                <a:cubicBezTo>
                  <a:pt x="506805" y="1209484"/>
                  <a:pt x="504446" y="1195328"/>
                  <a:pt x="505898" y="1182805"/>
                </a:cubicBezTo>
                <a:cubicBezTo>
                  <a:pt x="510072" y="1142877"/>
                  <a:pt x="514065" y="1102950"/>
                  <a:pt x="518239" y="1063022"/>
                </a:cubicBezTo>
                <a:cubicBezTo>
                  <a:pt x="521506" y="1030898"/>
                  <a:pt x="524591" y="998774"/>
                  <a:pt x="527858" y="966651"/>
                </a:cubicBezTo>
                <a:cubicBezTo>
                  <a:pt x="531851" y="927086"/>
                  <a:pt x="536025" y="887340"/>
                  <a:pt x="540018" y="847775"/>
                </a:cubicBezTo>
                <a:lnTo>
                  <a:pt x="548341" y="764399"/>
                </a:lnTo>
                <a:lnTo>
                  <a:pt x="132037" y="415079"/>
                </a:lnTo>
                <a:lnTo>
                  <a:pt x="129621" y="410438"/>
                </a:lnTo>
                <a:lnTo>
                  <a:pt x="125334" y="408662"/>
                </a:lnTo>
                <a:cubicBezTo>
                  <a:pt x="122852" y="406180"/>
                  <a:pt x="121316" y="402751"/>
                  <a:pt x="121316" y="398964"/>
                </a:cubicBezTo>
                <a:cubicBezTo>
                  <a:pt x="121316" y="391389"/>
                  <a:pt x="127457" y="385248"/>
                  <a:pt x="135032" y="385248"/>
                </a:cubicBezTo>
                <a:lnTo>
                  <a:pt x="301963" y="385248"/>
                </a:lnTo>
                <a:lnTo>
                  <a:pt x="301963" y="319242"/>
                </a:lnTo>
                <a:lnTo>
                  <a:pt x="274367" y="319242"/>
                </a:lnTo>
                <a:cubicBezTo>
                  <a:pt x="269317" y="319242"/>
                  <a:pt x="265223" y="315148"/>
                  <a:pt x="265223" y="310098"/>
                </a:cubicBezTo>
                <a:cubicBezTo>
                  <a:pt x="265223" y="305048"/>
                  <a:pt x="269317" y="300954"/>
                  <a:pt x="274367" y="300954"/>
                </a:cubicBezTo>
                <a:lnTo>
                  <a:pt x="301963" y="300954"/>
                </a:lnTo>
                <a:lnTo>
                  <a:pt x="301963" y="290444"/>
                </a:lnTo>
                <a:lnTo>
                  <a:pt x="274367" y="290444"/>
                </a:lnTo>
                <a:cubicBezTo>
                  <a:pt x="269317" y="290444"/>
                  <a:pt x="265223" y="286350"/>
                  <a:pt x="265223" y="281300"/>
                </a:cubicBezTo>
                <a:cubicBezTo>
                  <a:pt x="265223" y="276250"/>
                  <a:pt x="269317" y="272156"/>
                  <a:pt x="274367" y="272156"/>
                </a:cubicBezTo>
                <a:lnTo>
                  <a:pt x="301963" y="272156"/>
                </a:lnTo>
                <a:lnTo>
                  <a:pt x="301963" y="261646"/>
                </a:lnTo>
                <a:lnTo>
                  <a:pt x="274367" y="261646"/>
                </a:lnTo>
                <a:cubicBezTo>
                  <a:pt x="269317" y="261646"/>
                  <a:pt x="265223" y="257552"/>
                  <a:pt x="265223" y="252502"/>
                </a:cubicBezTo>
                <a:cubicBezTo>
                  <a:pt x="265223" y="247452"/>
                  <a:pt x="269317" y="243358"/>
                  <a:pt x="274367" y="243358"/>
                </a:cubicBezTo>
                <a:lnTo>
                  <a:pt x="301963" y="243358"/>
                </a:lnTo>
                <a:lnTo>
                  <a:pt x="301963" y="219866"/>
                </a:lnTo>
                <a:cubicBezTo>
                  <a:pt x="301963" y="212291"/>
                  <a:pt x="308104" y="206150"/>
                  <a:pt x="315679" y="206150"/>
                </a:cubicBezTo>
                <a:cubicBezTo>
                  <a:pt x="323254" y="206150"/>
                  <a:pt x="329395" y="212291"/>
                  <a:pt x="329395" y="219866"/>
                </a:cubicBezTo>
                <a:lnTo>
                  <a:pt x="329395" y="243358"/>
                </a:lnTo>
                <a:lnTo>
                  <a:pt x="358387" y="243358"/>
                </a:lnTo>
                <a:cubicBezTo>
                  <a:pt x="363437" y="243358"/>
                  <a:pt x="367531" y="247452"/>
                  <a:pt x="367531" y="252502"/>
                </a:cubicBezTo>
                <a:cubicBezTo>
                  <a:pt x="367531" y="257552"/>
                  <a:pt x="363437" y="261646"/>
                  <a:pt x="358387" y="261646"/>
                </a:cubicBezTo>
                <a:lnTo>
                  <a:pt x="329395" y="261646"/>
                </a:lnTo>
                <a:lnTo>
                  <a:pt x="329395" y="272156"/>
                </a:lnTo>
                <a:lnTo>
                  <a:pt x="358387" y="272156"/>
                </a:lnTo>
                <a:cubicBezTo>
                  <a:pt x="363437" y="272156"/>
                  <a:pt x="367531" y="276250"/>
                  <a:pt x="367531" y="281300"/>
                </a:cubicBezTo>
                <a:cubicBezTo>
                  <a:pt x="367531" y="286350"/>
                  <a:pt x="363437" y="290444"/>
                  <a:pt x="358387" y="290444"/>
                </a:cubicBezTo>
                <a:lnTo>
                  <a:pt x="329395" y="290444"/>
                </a:lnTo>
                <a:lnTo>
                  <a:pt x="329395" y="300954"/>
                </a:lnTo>
                <a:lnTo>
                  <a:pt x="358387" y="300954"/>
                </a:lnTo>
                <a:cubicBezTo>
                  <a:pt x="363437" y="300954"/>
                  <a:pt x="367531" y="305048"/>
                  <a:pt x="367531" y="310098"/>
                </a:cubicBezTo>
                <a:cubicBezTo>
                  <a:pt x="367531" y="315148"/>
                  <a:pt x="363437" y="319242"/>
                  <a:pt x="358387" y="319242"/>
                </a:cubicBezTo>
                <a:lnTo>
                  <a:pt x="329395" y="319242"/>
                </a:lnTo>
                <a:lnTo>
                  <a:pt x="329395" y="385248"/>
                </a:lnTo>
                <a:lnTo>
                  <a:pt x="447531" y="385248"/>
                </a:lnTo>
                <a:lnTo>
                  <a:pt x="447531" y="315782"/>
                </a:lnTo>
                <a:lnTo>
                  <a:pt x="417009" y="315782"/>
                </a:lnTo>
                <a:cubicBezTo>
                  <a:pt x="411959" y="315782"/>
                  <a:pt x="407865" y="311688"/>
                  <a:pt x="407865" y="306638"/>
                </a:cubicBezTo>
                <a:cubicBezTo>
                  <a:pt x="407865" y="301588"/>
                  <a:pt x="411959" y="297494"/>
                  <a:pt x="417009" y="297494"/>
                </a:cubicBezTo>
                <a:lnTo>
                  <a:pt x="447531" y="297494"/>
                </a:lnTo>
                <a:lnTo>
                  <a:pt x="447531" y="286984"/>
                </a:lnTo>
                <a:lnTo>
                  <a:pt x="417009" y="286984"/>
                </a:lnTo>
                <a:cubicBezTo>
                  <a:pt x="411959" y="286984"/>
                  <a:pt x="407865" y="282890"/>
                  <a:pt x="407865" y="277840"/>
                </a:cubicBezTo>
                <a:cubicBezTo>
                  <a:pt x="407865" y="272790"/>
                  <a:pt x="411959" y="268696"/>
                  <a:pt x="417009" y="268696"/>
                </a:cubicBezTo>
                <a:lnTo>
                  <a:pt x="447531" y="268696"/>
                </a:lnTo>
                <a:lnTo>
                  <a:pt x="447531" y="258186"/>
                </a:lnTo>
                <a:lnTo>
                  <a:pt x="417009" y="258186"/>
                </a:lnTo>
                <a:cubicBezTo>
                  <a:pt x="411959" y="258186"/>
                  <a:pt x="407865" y="254092"/>
                  <a:pt x="407865" y="249042"/>
                </a:cubicBezTo>
                <a:cubicBezTo>
                  <a:pt x="407865" y="243992"/>
                  <a:pt x="411959" y="239898"/>
                  <a:pt x="417009" y="239898"/>
                </a:cubicBezTo>
                <a:lnTo>
                  <a:pt x="447531" y="239898"/>
                </a:lnTo>
                <a:lnTo>
                  <a:pt x="447531" y="219866"/>
                </a:lnTo>
                <a:cubicBezTo>
                  <a:pt x="447531" y="212291"/>
                  <a:pt x="453672" y="206150"/>
                  <a:pt x="461247" y="206150"/>
                </a:cubicBezTo>
                <a:cubicBezTo>
                  <a:pt x="468822" y="206150"/>
                  <a:pt x="474963" y="212291"/>
                  <a:pt x="474963" y="219866"/>
                </a:cubicBezTo>
                <a:lnTo>
                  <a:pt x="474963" y="239898"/>
                </a:lnTo>
                <a:lnTo>
                  <a:pt x="501029" y="239898"/>
                </a:lnTo>
                <a:cubicBezTo>
                  <a:pt x="506079" y="239898"/>
                  <a:pt x="510173" y="243992"/>
                  <a:pt x="510173" y="249042"/>
                </a:cubicBezTo>
                <a:cubicBezTo>
                  <a:pt x="510173" y="254092"/>
                  <a:pt x="506079" y="258186"/>
                  <a:pt x="501029" y="258186"/>
                </a:cubicBezTo>
                <a:lnTo>
                  <a:pt x="474963" y="258186"/>
                </a:lnTo>
                <a:lnTo>
                  <a:pt x="474963" y="268696"/>
                </a:lnTo>
                <a:lnTo>
                  <a:pt x="501029" y="268696"/>
                </a:lnTo>
                <a:cubicBezTo>
                  <a:pt x="506079" y="268696"/>
                  <a:pt x="510173" y="272790"/>
                  <a:pt x="510173" y="277840"/>
                </a:cubicBezTo>
                <a:cubicBezTo>
                  <a:pt x="510173" y="282890"/>
                  <a:pt x="506079" y="286984"/>
                  <a:pt x="501029" y="286984"/>
                </a:cubicBezTo>
                <a:lnTo>
                  <a:pt x="474963" y="286984"/>
                </a:lnTo>
                <a:lnTo>
                  <a:pt x="474963" y="297494"/>
                </a:lnTo>
                <a:lnTo>
                  <a:pt x="501029" y="297494"/>
                </a:lnTo>
                <a:cubicBezTo>
                  <a:pt x="506079" y="297494"/>
                  <a:pt x="510173" y="301588"/>
                  <a:pt x="510173" y="306638"/>
                </a:cubicBezTo>
                <a:cubicBezTo>
                  <a:pt x="510173" y="311688"/>
                  <a:pt x="506079" y="315782"/>
                  <a:pt x="501029" y="315782"/>
                </a:cubicBezTo>
                <a:lnTo>
                  <a:pt x="474963" y="315782"/>
                </a:lnTo>
                <a:lnTo>
                  <a:pt x="474963" y="385248"/>
                </a:lnTo>
                <a:lnTo>
                  <a:pt x="588306" y="385248"/>
                </a:lnTo>
                <a:lnTo>
                  <a:pt x="588536" y="382944"/>
                </a:lnTo>
                <a:cubicBezTo>
                  <a:pt x="591818" y="350126"/>
                  <a:pt x="595397" y="317308"/>
                  <a:pt x="598679" y="284490"/>
                </a:cubicBezTo>
                <a:cubicBezTo>
                  <a:pt x="601365" y="258385"/>
                  <a:pt x="603752" y="232130"/>
                  <a:pt x="606437" y="206025"/>
                </a:cubicBezTo>
                <a:cubicBezTo>
                  <a:pt x="609718" y="173206"/>
                  <a:pt x="613150" y="140388"/>
                  <a:pt x="616580" y="107571"/>
                </a:cubicBezTo>
                <a:lnTo>
                  <a:pt x="616580" y="105641"/>
                </a:lnTo>
                <a:lnTo>
                  <a:pt x="569236" y="105641"/>
                </a:lnTo>
                <a:cubicBezTo>
                  <a:pt x="562924" y="105641"/>
                  <a:pt x="557209" y="103082"/>
                  <a:pt x="553072" y="98945"/>
                </a:cubicBezTo>
                <a:lnTo>
                  <a:pt x="546376" y="82781"/>
                </a:lnTo>
                <a:lnTo>
                  <a:pt x="553072" y="66617"/>
                </a:lnTo>
                <a:cubicBezTo>
                  <a:pt x="557209" y="62481"/>
                  <a:pt x="562924" y="59922"/>
                  <a:pt x="569236" y="59922"/>
                </a:cubicBezTo>
                <a:lnTo>
                  <a:pt x="659192" y="59922"/>
                </a:lnTo>
                <a:lnTo>
                  <a:pt x="649547" y="36638"/>
                </a:lnTo>
                <a:cubicBezTo>
                  <a:pt x="649547" y="16403"/>
                  <a:pt x="665950" y="0"/>
                  <a:pt x="686185" y="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9">
            <a:extLst>
              <a:ext uri="{FF2B5EF4-FFF2-40B4-BE49-F238E27FC236}">
                <a16:creationId xmlns:a16="http://schemas.microsoft.com/office/drawing/2014/main" id="{C8838131-1517-41DF-9062-28CAA0373548}"/>
              </a:ext>
            </a:extLst>
          </p:cNvPr>
          <p:cNvSpPr/>
          <p:nvPr/>
        </p:nvSpPr>
        <p:spPr>
          <a:xfrm>
            <a:off x="10143294" y="3358905"/>
            <a:ext cx="460796" cy="351987"/>
          </a:xfrm>
          <a:custGeom>
            <a:avLst/>
            <a:gdLst/>
            <a:ahLst/>
            <a:cxnLst/>
            <a:rect l="l" t="t" r="r" b="b"/>
            <a:pathLst>
              <a:path w="3228210" h="3222968">
                <a:moveTo>
                  <a:pt x="1619999" y="642446"/>
                </a:moveTo>
                <a:lnTo>
                  <a:pt x="2664115" y="1686562"/>
                </a:lnTo>
                <a:lnTo>
                  <a:pt x="2664116" y="1686562"/>
                </a:lnTo>
                <a:lnTo>
                  <a:pt x="2664116" y="3222968"/>
                </a:lnTo>
                <a:lnTo>
                  <a:pt x="2015013" y="3222968"/>
                </a:lnTo>
                <a:lnTo>
                  <a:pt x="2015013" y="2511495"/>
                </a:lnTo>
                <a:cubicBezTo>
                  <a:pt x="2015013" y="2399422"/>
                  <a:pt x="1924159" y="2308568"/>
                  <a:pt x="1812086" y="2308568"/>
                </a:cubicBezTo>
                <a:lnTo>
                  <a:pt x="1427912" y="2308568"/>
                </a:lnTo>
                <a:cubicBezTo>
                  <a:pt x="1315839" y="2308568"/>
                  <a:pt x="1224985" y="2399422"/>
                  <a:pt x="1224985" y="2511495"/>
                </a:cubicBezTo>
                <a:lnTo>
                  <a:pt x="1224985" y="3222968"/>
                </a:lnTo>
                <a:lnTo>
                  <a:pt x="575882" y="3222968"/>
                </a:lnTo>
                <a:lnTo>
                  <a:pt x="575882" y="1686562"/>
                </a:lnTo>
                <a:lnTo>
                  <a:pt x="575884" y="1686562"/>
                </a:lnTo>
                <a:close/>
                <a:moveTo>
                  <a:pt x="509997" y="122689"/>
                </a:moveTo>
                <a:lnTo>
                  <a:pt x="942045" y="122689"/>
                </a:lnTo>
                <a:lnTo>
                  <a:pt x="942045" y="542556"/>
                </a:lnTo>
                <a:lnTo>
                  <a:pt x="509997" y="974604"/>
                </a:lnTo>
                <a:close/>
                <a:moveTo>
                  <a:pt x="1620001" y="7099"/>
                </a:moveTo>
                <a:lnTo>
                  <a:pt x="3228210" y="1686560"/>
                </a:lnTo>
                <a:lnTo>
                  <a:pt x="2900441" y="1686560"/>
                </a:lnTo>
                <a:lnTo>
                  <a:pt x="1620001" y="349390"/>
                </a:lnTo>
                <a:close/>
                <a:moveTo>
                  <a:pt x="1619999" y="0"/>
                </a:moveTo>
                <a:lnTo>
                  <a:pt x="1619999" y="342291"/>
                </a:lnTo>
                <a:lnTo>
                  <a:pt x="330172" y="1679462"/>
                </a:lnTo>
                <a:lnTo>
                  <a:pt x="0" y="167946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33" name="Left Arrow 1">
            <a:extLst>
              <a:ext uri="{FF2B5EF4-FFF2-40B4-BE49-F238E27FC236}">
                <a16:creationId xmlns:a16="http://schemas.microsoft.com/office/drawing/2014/main" id="{0C9F6AD2-C884-4E20-BFC4-C2B0E7A684A1}"/>
              </a:ext>
            </a:extLst>
          </p:cNvPr>
          <p:cNvSpPr>
            <a:spLocks noChangeAspect="1"/>
          </p:cNvSpPr>
          <p:nvPr/>
        </p:nvSpPr>
        <p:spPr>
          <a:xfrm>
            <a:off x="7970177" y="3344157"/>
            <a:ext cx="400014" cy="389338"/>
          </a:xfrm>
          <a:custGeom>
            <a:avLst/>
            <a:gdLst/>
            <a:ahLst/>
            <a:cxnLst/>
            <a:rect l="l" t="t" r="r" b="b"/>
            <a:pathLst>
              <a:path w="3306630" h="3218379">
                <a:moveTo>
                  <a:pt x="0" y="2085651"/>
                </a:moveTo>
                <a:cubicBezTo>
                  <a:pt x="253919" y="2342528"/>
                  <a:pt x="881542" y="2297196"/>
                  <a:pt x="1388167" y="2271654"/>
                </a:cubicBezTo>
                <a:lnTo>
                  <a:pt x="1417952" y="2988872"/>
                </a:lnTo>
                <a:lnTo>
                  <a:pt x="717647" y="2950294"/>
                </a:lnTo>
                <a:cubicBezTo>
                  <a:pt x="467617" y="2928101"/>
                  <a:pt x="217417" y="2555860"/>
                  <a:pt x="0" y="2085651"/>
                </a:cubicBezTo>
                <a:close/>
                <a:moveTo>
                  <a:pt x="1969797" y="2019847"/>
                </a:moveTo>
                <a:lnTo>
                  <a:pt x="1969797" y="2274913"/>
                </a:lnTo>
                <a:lnTo>
                  <a:pt x="2657809" y="2274913"/>
                </a:lnTo>
                <a:cubicBezTo>
                  <a:pt x="2787205" y="2599270"/>
                  <a:pt x="2968360" y="2923626"/>
                  <a:pt x="2675062" y="2954686"/>
                </a:cubicBezTo>
                <a:lnTo>
                  <a:pt x="1969797" y="2963313"/>
                </a:lnTo>
                <a:lnTo>
                  <a:pt x="1969797" y="3218379"/>
                </a:lnTo>
                <a:lnTo>
                  <a:pt x="1429598" y="2619113"/>
                </a:lnTo>
                <a:close/>
                <a:moveTo>
                  <a:pt x="2961009" y="1275432"/>
                </a:moveTo>
                <a:lnTo>
                  <a:pt x="3277752" y="1901203"/>
                </a:lnTo>
                <a:cubicBezTo>
                  <a:pt x="3383548" y="2128832"/>
                  <a:pt x="3186278" y="2531632"/>
                  <a:pt x="2887773" y="2955026"/>
                </a:cubicBezTo>
                <a:cubicBezTo>
                  <a:pt x="2983276" y="2606687"/>
                  <a:pt x="2630206" y="2085815"/>
                  <a:pt x="2354773" y="1659836"/>
                </a:cubicBezTo>
                <a:close/>
                <a:moveTo>
                  <a:pt x="1019997" y="990789"/>
                </a:moveTo>
                <a:lnTo>
                  <a:pt x="1268877" y="1758248"/>
                </a:lnTo>
                <a:lnTo>
                  <a:pt x="1047983" y="1630715"/>
                </a:lnTo>
                <a:lnTo>
                  <a:pt x="703977" y="2226552"/>
                </a:lnTo>
                <a:cubicBezTo>
                  <a:pt x="358378" y="2176433"/>
                  <a:pt x="-13100" y="2171140"/>
                  <a:pt x="106650" y="1901606"/>
                </a:cubicBezTo>
                <a:lnTo>
                  <a:pt x="451811" y="1286515"/>
                </a:lnTo>
                <a:lnTo>
                  <a:pt x="230918" y="1158982"/>
                </a:lnTo>
                <a:close/>
                <a:moveTo>
                  <a:pt x="2174825" y="119764"/>
                </a:moveTo>
                <a:cubicBezTo>
                  <a:pt x="2220451" y="119103"/>
                  <a:pt x="2264887" y="143875"/>
                  <a:pt x="2308274" y="203493"/>
                </a:cubicBezTo>
                <a:lnTo>
                  <a:pt x="2668377" y="809957"/>
                </a:lnTo>
                <a:lnTo>
                  <a:pt x="2889271" y="682424"/>
                </a:lnTo>
                <a:lnTo>
                  <a:pt x="2640391" y="1449883"/>
                </a:lnTo>
                <a:lnTo>
                  <a:pt x="1851312" y="1281690"/>
                </a:lnTo>
                <a:lnTo>
                  <a:pt x="2072206" y="1154157"/>
                </a:lnTo>
                <a:lnTo>
                  <a:pt x="1728200" y="558321"/>
                </a:lnTo>
                <a:cubicBezTo>
                  <a:pt x="1890352" y="352642"/>
                  <a:pt x="2037947" y="121750"/>
                  <a:pt x="2174825" y="119764"/>
                </a:cubicBezTo>
                <a:close/>
                <a:moveTo>
                  <a:pt x="1831774" y="30"/>
                </a:moveTo>
                <a:cubicBezTo>
                  <a:pt x="1948530" y="539"/>
                  <a:pt x="2073232" y="7407"/>
                  <a:pt x="2202212" y="19111"/>
                </a:cubicBezTo>
                <a:cubicBezTo>
                  <a:pt x="1852790" y="110572"/>
                  <a:pt x="1578238" y="676776"/>
                  <a:pt x="1347045" y="1128297"/>
                </a:cubicBezTo>
                <a:lnTo>
                  <a:pt x="711024" y="795483"/>
                </a:lnTo>
                <a:lnTo>
                  <a:pt x="1094586" y="208291"/>
                </a:lnTo>
                <a:cubicBezTo>
                  <a:pt x="1202761" y="54213"/>
                  <a:pt x="1481508" y="-1496"/>
                  <a:pt x="1831774" y="3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굴림" panose="020B0600000101010101" pitchFamily="34" charset="-127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2EE4EBB-E2FA-4B6C-A878-C53CC92C986D}"/>
              </a:ext>
            </a:extLst>
          </p:cNvPr>
          <p:cNvSpPr/>
          <p:nvPr/>
        </p:nvSpPr>
        <p:spPr>
          <a:xfrm>
            <a:off x="5977217" y="2824901"/>
            <a:ext cx="2375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-webkit-standard"/>
                <a:ea typeface="+mn-ea"/>
                <a:cs typeface="+mn-cs"/>
              </a:rPr>
              <a:t> 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4131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19C5C0A7-993E-4F8C-AF9A-E310E4F7E9F1}"/>
              </a:ext>
            </a:extLst>
          </p:cNvPr>
          <p:cNvSpPr txBox="1"/>
          <p:nvPr/>
        </p:nvSpPr>
        <p:spPr>
          <a:xfrm>
            <a:off x="574348" y="1091026"/>
            <a:ext cx="11727274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6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微軟正黑體"/>
                <a:cs typeface="Arial"/>
              </a:rPr>
              <a:t>Supporting the Mobility &amp; Energy Transition plan to deliver Zero Carbon fleet and depot  </a:t>
            </a:r>
            <a:endParaRPr kumimoji="0" lang="en-US" altLang="zh-TW" sz="16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微軟正黑體" panose="020B0604030504040204" pitchFamily="34" charset="-120"/>
              <a:cs typeface="Arial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D15C1F83-E47D-9B43-96BA-DF7019D056D7}"/>
              </a:ext>
            </a:extLst>
          </p:cNvPr>
          <p:cNvSpPr txBox="1"/>
          <p:nvPr/>
        </p:nvSpPr>
        <p:spPr>
          <a:xfrm>
            <a:off x="405981" y="6058969"/>
            <a:ext cx="113800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/>
              <a:t>Delivering a range of contracted or as a service solutions through our end-to-end technology platform</a:t>
            </a:r>
          </a:p>
        </p:txBody>
      </p:sp>
    </p:spTree>
    <p:extLst>
      <p:ext uri="{BB962C8B-B14F-4D97-AF65-F5344CB8AC3E}">
        <p14:creationId xmlns:p14="http://schemas.microsoft.com/office/powerpoint/2010/main" val="12232658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4" name="TextBox 4253">
            <a:extLst>
              <a:ext uri="{FF2B5EF4-FFF2-40B4-BE49-F238E27FC236}">
                <a16:creationId xmlns:a16="http://schemas.microsoft.com/office/drawing/2014/main" id="{D6B639A3-C3E8-439D-8498-E7E613695457}"/>
              </a:ext>
            </a:extLst>
          </p:cNvPr>
          <p:cNvSpPr txBox="1"/>
          <p:nvPr/>
        </p:nvSpPr>
        <p:spPr>
          <a:xfrm>
            <a:off x="110341" y="-488933"/>
            <a:ext cx="950256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all" spc="0" normalizeH="0" baseline="0">
                <a:ln w="6350" cap="flat">
                  <a:noFill/>
                  <a:miter lim="800000"/>
                </a:ln>
                <a:solidFill>
                  <a:srgbClr val="BABABA"/>
                </a:solidFill>
                <a:effectLst/>
                <a:uLnTx/>
                <a:uFillTx/>
                <a:latin typeface="Arial"/>
              </a:defRPr>
            </a:lvl1pPr>
          </a:lstStyle>
          <a:p>
            <a:br>
              <a:rPr lang="en-GB" dirty="0"/>
            </a:br>
            <a:br>
              <a:rPr lang="en-GB" dirty="0"/>
            </a:br>
            <a:r>
              <a:rPr lang="en-GB" dirty="0"/>
              <a:t>The Hitachi approach –  Partnering the drive towards an optimal TCO operation</a:t>
            </a:r>
          </a:p>
        </p:txBody>
      </p:sp>
      <p:sp>
        <p:nvSpPr>
          <p:cNvPr id="2132" name="Content Placeholder 2">
            <a:extLst>
              <a:ext uri="{FF2B5EF4-FFF2-40B4-BE49-F238E27FC236}">
                <a16:creationId xmlns:a16="http://schemas.microsoft.com/office/drawing/2014/main" id="{5012B36B-BBBA-014B-8CAD-E8DDE1A4287E}"/>
              </a:ext>
            </a:extLst>
          </p:cNvPr>
          <p:cNvSpPr txBox="1">
            <a:spLocks/>
          </p:cNvSpPr>
          <p:nvPr/>
        </p:nvSpPr>
        <p:spPr>
          <a:xfrm>
            <a:off x="375891" y="5810853"/>
            <a:ext cx="11691782" cy="8320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594" indent="-22859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01" indent="-210307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45" indent="-155444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796" indent="-14630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24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24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24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24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rPr>
              <a:t>A once in a generation opportunity to build the ‘Fleet and Depot of the Future’ and the launchpad for the next generation of business transformation</a:t>
            </a: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774" name="Picture 2" descr="ADGM Sustainable Finance">
            <a:extLst>
              <a:ext uri="{FF2B5EF4-FFF2-40B4-BE49-F238E27FC236}">
                <a16:creationId xmlns:a16="http://schemas.microsoft.com/office/drawing/2014/main" id="{4B8ABDA3-DC31-E84E-8257-E6649FB158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424" y="1232201"/>
            <a:ext cx="832035" cy="832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55" name="Picture 4" descr="BHC3 Production Optimization - BakerHughesC3.ai">
            <a:extLst>
              <a:ext uri="{FF2B5EF4-FFF2-40B4-BE49-F238E27FC236}">
                <a16:creationId xmlns:a16="http://schemas.microsoft.com/office/drawing/2014/main" id="{21B26A60-9957-D145-8029-B60EC17AF3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15" y="2294660"/>
            <a:ext cx="823744" cy="82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56" name="Picture 6" descr="Bus - Free transport icons">
            <a:extLst>
              <a:ext uri="{FF2B5EF4-FFF2-40B4-BE49-F238E27FC236}">
                <a16:creationId xmlns:a16="http://schemas.microsoft.com/office/drawing/2014/main" id="{550A24A2-8CF6-7E4E-9416-D55E4D6B5B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370" y="3522161"/>
            <a:ext cx="814142" cy="814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57" name="Picture 8" descr="Conversion rate optimisation icon Royalty Free Vector Image">
            <a:extLst>
              <a:ext uri="{FF2B5EF4-FFF2-40B4-BE49-F238E27FC236}">
                <a16:creationId xmlns:a16="http://schemas.microsoft.com/office/drawing/2014/main" id="{27DE1486-65B8-BB4E-BB79-284EE104965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438"/>
          <a:stretch/>
        </p:blipFill>
        <p:spPr bwMode="auto">
          <a:xfrm>
            <a:off x="435370" y="4585338"/>
            <a:ext cx="814142" cy="813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58" name="Picture 10" descr="Business handshake circle icon Royalty Free Vector Image">
            <a:extLst>
              <a:ext uri="{FF2B5EF4-FFF2-40B4-BE49-F238E27FC236}">
                <a16:creationId xmlns:a16="http://schemas.microsoft.com/office/drawing/2014/main" id="{BEB94F7B-B9A5-C742-9F67-802F5F8DB66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316"/>
          <a:stretch/>
        </p:blipFill>
        <p:spPr bwMode="auto">
          <a:xfrm>
            <a:off x="6345392" y="1242389"/>
            <a:ext cx="885845" cy="858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59" name="Picture 14" descr="Analytics growth circle icon Royalty Free Vector Image">
            <a:extLst>
              <a:ext uri="{FF2B5EF4-FFF2-40B4-BE49-F238E27FC236}">
                <a16:creationId xmlns:a16="http://schemas.microsoft.com/office/drawing/2014/main" id="{8C079993-D9B9-074D-A9A6-B6CB3164DA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65"/>
          <a:stretch/>
        </p:blipFill>
        <p:spPr bwMode="auto">
          <a:xfrm>
            <a:off x="6235185" y="3417321"/>
            <a:ext cx="1011490" cy="939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60" name="Rectangle 4259">
            <a:extLst>
              <a:ext uri="{FF2B5EF4-FFF2-40B4-BE49-F238E27FC236}">
                <a16:creationId xmlns:a16="http://schemas.microsoft.com/office/drawing/2014/main" id="{74C3E933-57EB-5A4A-A8F5-5043CB5E7A63}"/>
              </a:ext>
            </a:extLst>
          </p:cNvPr>
          <p:cNvSpPr/>
          <p:nvPr/>
        </p:nvSpPr>
        <p:spPr>
          <a:xfrm>
            <a:off x="7246675" y="1274875"/>
            <a:ext cx="4732461" cy="3462486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w revenue streams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– through Hitachi’s </a:t>
            </a:r>
            <a:r>
              <a:rPr lang="en-GB" dirty="0" err="1">
                <a:solidFill>
                  <a:srgbClr val="000000"/>
                </a:solidFill>
                <a:latin typeface="Calibri"/>
                <a:cs typeface="Calibri"/>
              </a:rPr>
              <a:t>ZeroCarbon</a:t>
            </a:r>
            <a:r>
              <a:rPr lang="en-GB" dirty="0">
                <a:solidFill>
                  <a:srgbClr val="000000"/>
                </a:solidFill>
                <a:latin typeface="Calibri"/>
                <a:cs typeface="Calibri"/>
              </a:rPr>
              <a:t> Cloud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d our revenue generation model for energy and community charg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New role of the fleet company in the community as an ESG player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– as a COP26 principal partner Hitachi is seeking out new joint  opportunities to deliver social goo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latform for growth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-  Supporting the development of leading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Flee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and </a:t>
            </a:r>
            <a:r>
              <a:rPr kumimoji="0" lang="en-GB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eDepo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 providers in the UK and beyond – out-competing the competition through optimised operations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261" name="Rectangle 4260">
            <a:extLst>
              <a:ext uri="{FF2B5EF4-FFF2-40B4-BE49-F238E27FC236}">
                <a16:creationId xmlns:a16="http://schemas.microsoft.com/office/drawing/2014/main" id="{CBC4E8A3-A0A1-4D40-B495-CACB1C9A3ECD}"/>
              </a:ext>
            </a:extLst>
          </p:cNvPr>
          <p:cNvSpPr/>
          <p:nvPr/>
        </p:nvSpPr>
        <p:spPr>
          <a:xfrm>
            <a:off x="1258459" y="1316201"/>
            <a:ext cx="4837541" cy="417806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stainable long-term finance 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- Bridging the gap between CAPEX and OPEX, like we do for the UK rail industry with the Intercity Express Programme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timised operations –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ringing in Hitachi Energy  and key partners to optimise operations, under contract with SLAs 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</a:b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timised fleet –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sing our knowledge from Optimise Prime and other fleet solutions to right size your fleet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ptimised technology solutions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– An integrated platform that manages the electron from the grid to the battery</a:t>
            </a:r>
          </a:p>
        </p:txBody>
      </p:sp>
      <p:pic>
        <p:nvPicPr>
          <p:cNvPr id="4262" name="Picture 12" descr="A Stylized Circle Of People - Open Source Community Icon Transparent PNG -  400x400 - Free Download on NicePNG">
            <a:extLst>
              <a:ext uri="{FF2B5EF4-FFF2-40B4-BE49-F238E27FC236}">
                <a16:creationId xmlns:a16="http://schemas.microsoft.com/office/drawing/2014/main" id="{D4D4A2ED-348F-9B43-B889-B361DD01DB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240" y="2267796"/>
            <a:ext cx="891997" cy="8919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9539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id="{850ADC74-AA9C-6547-9093-4CE6E9A3E41E}"/>
              </a:ext>
            </a:extLst>
          </p:cNvPr>
          <p:cNvSpPr/>
          <p:nvPr/>
        </p:nvSpPr>
        <p:spPr>
          <a:xfrm>
            <a:off x="7928712" y="1570895"/>
            <a:ext cx="4004543" cy="3268734"/>
          </a:xfrm>
          <a:prstGeom prst="rect">
            <a:avLst/>
          </a:prstGeom>
          <a:solidFill>
            <a:schemeClr val="bg1"/>
          </a:solidFill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050BDD78-86F5-4FE3-9CBE-87DE2E9C9F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050BDD78-86F5-4FE3-9CBE-87DE2E9C9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3250A88C-28FF-456C-BDF5-F55E57527E9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/>
              <a:ea typeface="+mn-ea"/>
              <a:cs typeface="+mn-cs"/>
              <a:sym typeface="Open Sans" panose="020B0606030504020204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B926FA5-21E1-9741-8CC7-B787F705BCB7}"/>
              </a:ext>
            </a:extLst>
          </p:cNvPr>
          <p:cNvSpPr txBox="1"/>
          <p:nvPr/>
        </p:nvSpPr>
        <p:spPr>
          <a:xfrm>
            <a:off x="-497387" y="-44981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1" lang="en-GB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  <a:cs typeface="+mn-cs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93C06F6B-6C55-F94B-ABC4-F0EF5BD17350}"/>
              </a:ext>
            </a:extLst>
          </p:cNvPr>
          <p:cNvSpPr txBox="1"/>
          <p:nvPr/>
        </p:nvSpPr>
        <p:spPr>
          <a:xfrm>
            <a:off x="-2078940" y="-5125883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1" lang="en-GB" sz="2133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GPｺﾞｼｯｸE" pitchFamily="50" charset="-128"/>
              <a:ea typeface="HGPｺﾞｼｯｸE" pitchFamily="50" charset="-128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6A451C7-E861-024B-8BD5-7FDE9C5EEB30}"/>
              </a:ext>
            </a:extLst>
          </p:cNvPr>
          <p:cNvGrpSpPr/>
          <p:nvPr/>
        </p:nvGrpSpPr>
        <p:grpSpPr>
          <a:xfrm>
            <a:off x="702548" y="1194406"/>
            <a:ext cx="6725673" cy="4887112"/>
            <a:chOff x="607291" y="1104850"/>
            <a:chExt cx="11222157" cy="5492601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FB346BCE-1D17-B24D-8E16-1CD2A7394356}"/>
                </a:ext>
              </a:extLst>
            </p:cNvPr>
            <p:cNvCxnSpPr>
              <a:cxnSpLocks/>
            </p:cNvCxnSpPr>
            <p:nvPr/>
          </p:nvCxnSpPr>
          <p:spPr>
            <a:xfrm>
              <a:off x="1726651" y="1104850"/>
              <a:ext cx="0" cy="4691017"/>
            </a:xfrm>
            <a:prstGeom prst="line">
              <a:avLst/>
            </a:prstGeom>
            <a:ln w="12700" cap="flat">
              <a:solidFill>
                <a:srgbClr val="003374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Title 1">
              <a:extLst>
                <a:ext uri="{FF2B5EF4-FFF2-40B4-BE49-F238E27FC236}">
                  <a16:creationId xmlns:a16="http://schemas.microsoft.com/office/drawing/2014/main" id="{B4880DE3-3090-2C4F-8554-291B25EDD3B3}"/>
                </a:ext>
              </a:extLst>
            </p:cNvPr>
            <p:cNvSpPr txBox="1">
              <a:spLocks/>
            </p:cNvSpPr>
            <p:nvPr/>
          </p:nvSpPr>
          <p:spPr>
            <a:xfrm>
              <a:off x="1726653" y="5855787"/>
              <a:ext cx="1326840" cy="5617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iecemeal approach by depot </a:t>
              </a:r>
            </a:p>
          </p:txBody>
        </p:sp>
        <p:sp>
          <p:nvSpPr>
            <p:cNvPr id="47" name="Title 1">
              <a:extLst>
                <a:ext uri="{FF2B5EF4-FFF2-40B4-BE49-F238E27FC236}">
                  <a16:creationId xmlns:a16="http://schemas.microsoft.com/office/drawing/2014/main" id="{74A0C66D-EC08-8A48-A684-CAFC81BC7994}"/>
                </a:ext>
              </a:extLst>
            </p:cNvPr>
            <p:cNvSpPr txBox="1">
              <a:spLocks/>
            </p:cNvSpPr>
            <p:nvPr/>
          </p:nvSpPr>
          <p:spPr>
            <a:xfrm>
              <a:off x="3668693" y="5858379"/>
              <a:ext cx="1326840" cy="3745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tegrated depot approach</a:t>
              </a:r>
            </a:p>
          </p:txBody>
        </p:sp>
        <p:sp>
          <p:nvSpPr>
            <p:cNvPr id="48" name="Title 1">
              <a:extLst>
                <a:ext uri="{FF2B5EF4-FFF2-40B4-BE49-F238E27FC236}">
                  <a16:creationId xmlns:a16="http://schemas.microsoft.com/office/drawing/2014/main" id="{AD01F944-0E6A-4F40-A724-570B38158459}"/>
                </a:ext>
              </a:extLst>
            </p:cNvPr>
            <p:cNvSpPr txBox="1">
              <a:spLocks/>
            </p:cNvSpPr>
            <p:nvPr/>
          </p:nvSpPr>
          <p:spPr>
            <a:xfrm>
              <a:off x="5592616" y="5848420"/>
              <a:ext cx="1326840" cy="7490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economies of scale – procurement and operations</a:t>
              </a:r>
            </a:p>
          </p:txBody>
        </p:sp>
        <p:sp>
          <p:nvSpPr>
            <p:cNvPr id="49" name="Title 1">
              <a:extLst>
                <a:ext uri="{FF2B5EF4-FFF2-40B4-BE49-F238E27FC236}">
                  <a16:creationId xmlns:a16="http://schemas.microsoft.com/office/drawing/2014/main" id="{7854FE53-F439-814F-8D74-0B2A4DCAA308}"/>
                </a:ext>
              </a:extLst>
            </p:cNvPr>
            <p:cNvSpPr txBox="1">
              <a:spLocks/>
            </p:cNvSpPr>
            <p:nvPr/>
          </p:nvSpPr>
          <p:spPr>
            <a:xfrm>
              <a:off x="7534656" y="5852731"/>
              <a:ext cx="1583015" cy="5617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ully integrated approach +revenue generation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12B957F-B5B4-E34D-9EA7-FBB75FEED988}"/>
                </a:ext>
              </a:extLst>
            </p:cNvPr>
            <p:cNvSpPr/>
            <p:nvPr/>
          </p:nvSpPr>
          <p:spPr>
            <a:xfrm>
              <a:off x="2028548" y="1196584"/>
              <a:ext cx="777965" cy="4599283"/>
            </a:xfrm>
            <a:prstGeom prst="rect">
              <a:avLst/>
            </a:prstGeom>
            <a:solidFill>
              <a:srgbClr val="7F7F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1" name="Title 1">
              <a:extLst>
                <a:ext uri="{FF2B5EF4-FFF2-40B4-BE49-F238E27FC236}">
                  <a16:creationId xmlns:a16="http://schemas.microsoft.com/office/drawing/2014/main" id="{92EFD53E-5F70-2148-9BF5-FF200DAA8A33}"/>
                </a:ext>
              </a:extLst>
            </p:cNvPr>
            <p:cNvSpPr txBox="1">
              <a:spLocks/>
            </p:cNvSpPr>
            <p:nvPr/>
          </p:nvSpPr>
          <p:spPr>
            <a:xfrm>
              <a:off x="846596" y="5375285"/>
              <a:ext cx="961818" cy="3745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£1299 and below</a:t>
              </a:r>
            </a:p>
          </p:txBody>
        </p:sp>
        <p:sp>
          <p:nvSpPr>
            <p:cNvPr id="52" name="Title 1">
              <a:extLst>
                <a:ext uri="{FF2B5EF4-FFF2-40B4-BE49-F238E27FC236}">
                  <a16:creationId xmlns:a16="http://schemas.microsoft.com/office/drawing/2014/main" id="{89A1F907-04FF-124A-9AE8-74266B29A74D}"/>
                </a:ext>
              </a:extLst>
            </p:cNvPr>
            <p:cNvSpPr txBox="1">
              <a:spLocks/>
            </p:cNvSpPr>
            <p:nvPr/>
          </p:nvSpPr>
          <p:spPr>
            <a:xfrm>
              <a:off x="745507" y="4743170"/>
              <a:ext cx="1326840" cy="187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£1499</a:t>
              </a:r>
            </a:p>
          </p:txBody>
        </p:sp>
        <p:sp>
          <p:nvSpPr>
            <p:cNvPr id="53" name="Title 1">
              <a:extLst>
                <a:ext uri="{FF2B5EF4-FFF2-40B4-BE49-F238E27FC236}">
                  <a16:creationId xmlns:a16="http://schemas.microsoft.com/office/drawing/2014/main" id="{FCDC146E-77C6-A749-BF5C-E379E7A33E9C}"/>
                </a:ext>
              </a:extLst>
            </p:cNvPr>
            <p:cNvSpPr txBox="1">
              <a:spLocks/>
            </p:cNvSpPr>
            <p:nvPr/>
          </p:nvSpPr>
          <p:spPr>
            <a:xfrm>
              <a:off x="745507" y="4004103"/>
              <a:ext cx="1326840" cy="187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£1699</a:t>
              </a:r>
            </a:p>
          </p:txBody>
        </p:sp>
        <p:sp>
          <p:nvSpPr>
            <p:cNvPr id="54" name="Title 1">
              <a:extLst>
                <a:ext uri="{FF2B5EF4-FFF2-40B4-BE49-F238E27FC236}">
                  <a16:creationId xmlns:a16="http://schemas.microsoft.com/office/drawing/2014/main" id="{1D30BD4E-2F74-804E-A962-29A3563BE6B8}"/>
                </a:ext>
              </a:extLst>
            </p:cNvPr>
            <p:cNvSpPr txBox="1">
              <a:spLocks/>
            </p:cNvSpPr>
            <p:nvPr/>
          </p:nvSpPr>
          <p:spPr>
            <a:xfrm>
              <a:off x="745507" y="3325483"/>
              <a:ext cx="1326840" cy="187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£1899</a:t>
              </a:r>
            </a:p>
          </p:txBody>
        </p:sp>
        <p:sp>
          <p:nvSpPr>
            <p:cNvPr id="55" name="Title 1">
              <a:extLst>
                <a:ext uri="{FF2B5EF4-FFF2-40B4-BE49-F238E27FC236}">
                  <a16:creationId xmlns:a16="http://schemas.microsoft.com/office/drawing/2014/main" id="{4E7B60F2-91BB-D647-A183-BD8AC182790E}"/>
                </a:ext>
              </a:extLst>
            </p:cNvPr>
            <p:cNvSpPr txBox="1">
              <a:spLocks/>
            </p:cNvSpPr>
            <p:nvPr/>
          </p:nvSpPr>
          <p:spPr>
            <a:xfrm>
              <a:off x="766274" y="2617635"/>
              <a:ext cx="1326840" cy="187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£2099</a:t>
              </a:r>
            </a:p>
          </p:txBody>
        </p:sp>
        <p:sp>
          <p:nvSpPr>
            <p:cNvPr id="56" name="Title 1">
              <a:extLst>
                <a:ext uri="{FF2B5EF4-FFF2-40B4-BE49-F238E27FC236}">
                  <a16:creationId xmlns:a16="http://schemas.microsoft.com/office/drawing/2014/main" id="{ADAB27D9-0937-AC43-A468-91D575A87B96}"/>
                </a:ext>
              </a:extLst>
            </p:cNvPr>
            <p:cNvSpPr txBox="1">
              <a:spLocks/>
            </p:cNvSpPr>
            <p:nvPr/>
          </p:nvSpPr>
          <p:spPr>
            <a:xfrm>
              <a:off x="766274" y="1899605"/>
              <a:ext cx="1326840" cy="187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£2299</a:t>
              </a:r>
            </a:p>
          </p:txBody>
        </p:sp>
        <p:sp>
          <p:nvSpPr>
            <p:cNvPr id="57" name="Title 1">
              <a:extLst>
                <a:ext uri="{FF2B5EF4-FFF2-40B4-BE49-F238E27FC236}">
                  <a16:creationId xmlns:a16="http://schemas.microsoft.com/office/drawing/2014/main" id="{3670A4D6-3C3D-A14D-B16A-A729A87E3CD3}"/>
                </a:ext>
              </a:extLst>
            </p:cNvPr>
            <p:cNvSpPr txBox="1">
              <a:spLocks/>
            </p:cNvSpPr>
            <p:nvPr/>
          </p:nvSpPr>
          <p:spPr>
            <a:xfrm>
              <a:off x="789491" y="1193991"/>
              <a:ext cx="1326840" cy="1872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£2499</a:t>
              </a: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EC5BD6C9-FB50-EA40-B01B-1D6F09D3EDD5}"/>
                </a:ext>
              </a:extLst>
            </p:cNvPr>
            <p:cNvSpPr/>
            <p:nvPr/>
          </p:nvSpPr>
          <p:spPr>
            <a:xfrm>
              <a:off x="3943131" y="1813615"/>
              <a:ext cx="777965" cy="3982252"/>
            </a:xfrm>
            <a:prstGeom prst="rect">
              <a:avLst/>
            </a:prstGeom>
            <a:solidFill>
              <a:srgbClr val="00337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88EF3FD9-1B05-1F4B-992B-47532F68EB4E}"/>
                </a:ext>
              </a:extLst>
            </p:cNvPr>
            <p:cNvSpPr/>
            <p:nvPr/>
          </p:nvSpPr>
          <p:spPr>
            <a:xfrm>
              <a:off x="5922874" y="2718839"/>
              <a:ext cx="777965" cy="3077028"/>
            </a:xfrm>
            <a:prstGeom prst="rect">
              <a:avLst/>
            </a:prstGeom>
            <a:solidFill>
              <a:srgbClr val="00337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D11A17BD-07A6-1249-9DFA-4733D8C616AA}"/>
                </a:ext>
              </a:extLst>
            </p:cNvPr>
            <p:cNvSpPr/>
            <p:nvPr/>
          </p:nvSpPr>
          <p:spPr>
            <a:xfrm>
              <a:off x="7914076" y="4112141"/>
              <a:ext cx="777965" cy="1695268"/>
            </a:xfrm>
            <a:prstGeom prst="rect">
              <a:avLst/>
            </a:prstGeom>
            <a:solidFill>
              <a:srgbClr val="00337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1219170" fontAlgn="base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</a:pPr>
              <a:endParaRPr kumimoji="1" lang="en-GB" sz="1100">
                <a:solidFill>
                  <a:srgbClr val="FFFFFF"/>
                </a:solidFill>
                <a:latin typeface="Open Sans"/>
              </a:endParaRPr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F2156CEE-CE38-324A-89A8-7D284C91F3BB}"/>
                </a:ext>
              </a:extLst>
            </p:cNvPr>
            <p:cNvSpPr/>
            <p:nvPr/>
          </p:nvSpPr>
          <p:spPr>
            <a:xfrm>
              <a:off x="3939753" y="1208127"/>
              <a:ext cx="777965" cy="605488"/>
            </a:xfrm>
            <a:prstGeom prst="rect">
              <a:avLst/>
            </a:prstGeom>
            <a:noFill/>
            <a:ln w="3175" cap="sq">
              <a:solidFill>
                <a:srgbClr val="003374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5B33F163-A480-9445-B5E2-84655F7F570C}"/>
                </a:ext>
              </a:extLst>
            </p:cNvPr>
            <p:cNvSpPr/>
            <p:nvPr/>
          </p:nvSpPr>
          <p:spPr>
            <a:xfrm>
              <a:off x="7914076" y="1208127"/>
              <a:ext cx="777965" cy="2914523"/>
            </a:xfrm>
            <a:prstGeom prst="rect">
              <a:avLst/>
            </a:prstGeom>
            <a:noFill/>
            <a:ln w="3175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12167EB4-FC77-E240-AA71-7519947F3390}"/>
                </a:ext>
              </a:extLst>
            </p:cNvPr>
            <p:cNvSpPr/>
            <p:nvPr/>
          </p:nvSpPr>
          <p:spPr>
            <a:xfrm>
              <a:off x="5919497" y="1208127"/>
              <a:ext cx="777965" cy="1510709"/>
            </a:xfrm>
            <a:prstGeom prst="rect">
              <a:avLst/>
            </a:prstGeom>
            <a:noFill/>
            <a:ln w="3175" cap="sq">
              <a:solidFill>
                <a:srgbClr val="003374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4634B59-A7C8-B74E-A687-7DA06F74B16F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726654" y="5795867"/>
              <a:ext cx="10102794" cy="11542"/>
            </a:xfrm>
            <a:prstGeom prst="line">
              <a:avLst/>
            </a:prstGeom>
            <a:ln w="12700" cap="flat">
              <a:solidFill>
                <a:srgbClr val="003374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Title 1">
              <a:extLst>
                <a:ext uri="{FF2B5EF4-FFF2-40B4-BE49-F238E27FC236}">
                  <a16:creationId xmlns:a16="http://schemas.microsoft.com/office/drawing/2014/main" id="{B1A16018-BB1B-4F44-AD9A-7D1C969CAFBF}"/>
                </a:ext>
              </a:extLst>
            </p:cNvPr>
            <p:cNvSpPr txBox="1">
              <a:spLocks/>
            </p:cNvSpPr>
            <p:nvPr/>
          </p:nvSpPr>
          <p:spPr>
            <a:xfrm>
              <a:off x="2887927" y="1423739"/>
              <a:ext cx="928110" cy="6420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4D4D4D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Multiple procurement approach used at Caledonia</a:t>
              </a:r>
            </a:p>
          </p:txBody>
        </p:sp>
        <p:sp>
          <p:nvSpPr>
            <p:cNvPr id="92" name="Title 1">
              <a:extLst>
                <a:ext uri="{FF2B5EF4-FFF2-40B4-BE49-F238E27FC236}">
                  <a16:creationId xmlns:a16="http://schemas.microsoft.com/office/drawing/2014/main" id="{B7020B65-E4FA-5446-8AAE-67F37A7172E7}"/>
                </a:ext>
              </a:extLst>
            </p:cNvPr>
            <p:cNvSpPr txBox="1">
              <a:spLocks/>
            </p:cNvSpPr>
            <p:nvPr/>
          </p:nvSpPr>
          <p:spPr>
            <a:xfrm>
              <a:off x="4825218" y="2157021"/>
              <a:ext cx="999874" cy="4815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curing fully integrated depots</a:t>
              </a:r>
            </a:p>
          </p:txBody>
        </p:sp>
        <p:sp>
          <p:nvSpPr>
            <p:cNvPr id="93" name="Title 1">
              <a:extLst>
                <a:ext uri="{FF2B5EF4-FFF2-40B4-BE49-F238E27FC236}">
                  <a16:creationId xmlns:a16="http://schemas.microsoft.com/office/drawing/2014/main" id="{60E0435A-1777-2A4B-8183-5AA451A1E41C}"/>
                </a:ext>
              </a:extLst>
            </p:cNvPr>
            <p:cNvSpPr txBox="1">
              <a:spLocks/>
            </p:cNvSpPr>
            <p:nvPr/>
          </p:nvSpPr>
          <p:spPr>
            <a:xfrm>
              <a:off x="6757098" y="2741595"/>
              <a:ext cx="777555" cy="8453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0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curing for entire operating company as a whole</a:t>
              </a:r>
            </a:p>
          </p:txBody>
        </p:sp>
        <p:sp>
          <p:nvSpPr>
            <p:cNvPr id="95" name="Title 1">
              <a:extLst>
                <a:ext uri="{FF2B5EF4-FFF2-40B4-BE49-F238E27FC236}">
                  <a16:creationId xmlns:a16="http://schemas.microsoft.com/office/drawing/2014/main" id="{474739DB-51DF-434E-B2CB-87D20803EEAF}"/>
                </a:ext>
              </a:extLst>
            </p:cNvPr>
            <p:cNvSpPr txBox="1">
              <a:spLocks/>
            </p:cNvSpPr>
            <p:nvPr/>
          </p:nvSpPr>
          <p:spPr>
            <a:xfrm>
              <a:off x="8782492" y="4312795"/>
              <a:ext cx="984457" cy="1123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R="0" lvl="0" indent="0" defTabSz="914354" fontAlgn="auto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1067" b="0" i="1" u="none" strike="noStrike" cap="all" spc="0" normalizeH="0" baseline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</a:defRPr>
              </a:lvl1pPr>
            </a:lstStyle>
            <a:p>
              <a:r>
                <a:rPr lang="en-GB" sz="600"/>
                <a:t>Fully integrated whole fleet offer with energy trading and 3rd party charging</a:t>
              </a:r>
            </a:p>
          </p:txBody>
        </p:sp>
        <p:sp>
          <p:nvSpPr>
            <p:cNvPr id="96" name="Title 1">
              <a:extLst>
                <a:ext uri="{FF2B5EF4-FFF2-40B4-BE49-F238E27FC236}">
                  <a16:creationId xmlns:a16="http://schemas.microsoft.com/office/drawing/2014/main" id="{AE9EFDF2-EBC2-D245-91C6-7CB388F018FE}"/>
                </a:ext>
              </a:extLst>
            </p:cNvPr>
            <p:cNvSpPr txBox="1">
              <a:spLocks/>
            </p:cNvSpPr>
            <p:nvPr/>
          </p:nvSpPr>
          <p:spPr>
            <a:xfrm>
              <a:off x="3934934" y="1334223"/>
              <a:ext cx="777964" cy="321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E4007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3-5% reduction</a:t>
              </a:r>
            </a:p>
          </p:txBody>
        </p:sp>
        <p:sp>
          <p:nvSpPr>
            <p:cNvPr id="97" name="Title 1">
              <a:extLst>
                <a:ext uri="{FF2B5EF4-FFF2-40B4-BE49-F238E27FC236}">
                  <a16:creationId xmlns:a16="http://schemas.microsoft.com/office/drawing/2014/main" id="{A08B1685-F295-014B-A9F7-6650DF9CA02E}"/>
                </a:ext>
              </a:extLst>
            </p:cNvPr>
            <p:cNvSpPr txBox="1">
              <a:spLocks/>
            </p:cNvSpPr>
            <p:nvPr/>
          </p:nvSpPr>
          <p:spPr>
            <a:xfrm>
              <a:off x="5919497" y="1821023"/>
              <a:ext cx="777964" cy="321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E4007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5-10% reduction</a:t>
              </a:r>
            </a:p>
          </p:txBody>
        </p:sp>
        <p:sp>
          <p:nvSpPr>
            <p:cNvPr id="98" name="Title 1">
              <a:extLst>
                <a:ext uri="{FF2B5EF4-FFF2-40B4-BE49-F238E27FC236}">
                  <a16:creationId xmlns:a16="http://schemas.microsoft.com/office/drawing/2014/main" id="{13A8650C-3788-664E-BE55-75C5B58213A8}"/>
                </a:ext>
              </a:extLst>
            </p:cNvPr>
            <p:cNvSpPr txBox="1">
              <a:spLocks/>
            </p:cNvSpPr>
            <p:nvPr/>
          </p:nvSpPr>
          <p:spPr>
            <a:xfrm>
              <a:off x="7928896" y="2323534"/>
              <a:ext cx="777964" cy="321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E4007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10-15% reduction</a:t>
              </a:r>
            </a:p>
          </p:txBody>
        </p:sp>
        <p:sp>
          <p:nvSpPr>
            <p:cNvPr id="39" name="Title 1">
              <a:extLst>
                <a:ext uri="{FF2B5EF4-FFF2-40B4-BE49-F238E27FC236}">
                  <a16:creationId xmlns:a16="http://schemas.microsoft.com/office/drawing/2014/main" id="{3EE7EF17-E726-6A4A-B6BB-80713E312FF2}"/>
                </a:ext>
              </a:extLst>
            </p:cNvPr>
            <p:cNvSpPr txBox="1">
              <a:spLocks/>
            </p:cNvSpPr>
            <p:nvPr/>
          </p:nvSpPr>
          <p:spPr>
            <a:xfrm rot="16200000">
              <a:off x="-370249" y="3311280"/>
              <a:ext cx="2134820" cy="179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0" i="1" u="none" strike="noStrike" kern="1200" cap="all" spc="0" normalizeH="0" baseline="0" noProof="0" dirty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dicative Average Cost per bus per month</a:t>
              </a:r>
            </a:p>
          </p:txBody>
        </p:sp>
        <p:cxnSp>
          <p:nvCxnSpPr>
            <p:cNvPr id="7" name="Curved Connector 6">
              <a:extLst>
                <a:ext uri="{FF2B5EF4-FFF2-40B4-BE49-F238E27FC236}">
                  <a16:creationId xmlns:a16="http://schemas.microsoft.com/office/drawing/2014/main" id="{354C90D3-E221-CC43-B68F-F909559334D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81203" y="5496151"/>
              <a:ext cx="853686" cy="213714"/>
            </a:xfrm>
            <a:prstGeom prst="curvedConnector3">
              <a:avLst/>
            </a:prstGeom>
            <a:ln w="12700" cap="flat">
              <a:solidFill>
                <a:schemeClr val="bg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urved Connector 49">
              <a:extLst>
                <a:ext uri="{FF2B5EF4-FFF2-40B4-BE49-F238E27FC236}">
                  <a16:creationId xmlns:a16="http://schemas.microsoft.com/office/drawing/2014/main" id="{C0E529E2-0537-4F4E-BA60-075DD580695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894303" y="5482938"/>
              <a:ext cx="853686" cy="213714"/>
            </a:xfrm>
            <a:prstGeom prst="curvedConnector3">
              <a:avLst/>
            </a:prstGeom>
            <a:ln w="12700" cap="flat">
              <a:solidFill>
                <a:schemeClr val="bg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Curved Connector 57">
              <a:extLst>
                <a:ext uri="{FF2B5EF4-FFF2-40B4-BE49-F238E27FC236}">
                  <a16:creationId xmlns:a16="http://schemas.microsoft.com/office/drawing/2014/main" id="{4A7A2371-AB20-294D-800C-A0298636CA0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03412" y="5475297"/>
              <a:ext cx="853686" cy="213714"/>
            </a:xfrm>
            <a:prstGeom prst="curvedConnector3">
              <a:avLst/>
            </a:prstGeom>
            <a:ln w="12700" cap="flat">
              <a:solidFill>
                <a:schemeClr val="bg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Curved Connector 60">
              <a:extLst>
                <a:ext uri="{FF2B5EF4-FFF2-40B4-BE49-F238E27FC236}">
                  <a16:creationId xmlns:a16="http://schemas.microsoft.com/office/drawing/2014/main" id="{82CA662A-27CC-4A44-89D2-C6F8D2D950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38355" y="5475297"/>
              <a:ext cx="853686" cy="213714"/>
            </a:xfrm>
            <a:prstGeom prst="curvedConnector3">
              <a:avLst/>
            </a:prstGeom>
            <a:ln w="12700" cap="flat">
              <a:solidFill>
                <a:schemeClr val="bg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0982C094-524E-B147-B47D-84EBB7D9B9A6}"/>
                </a:ext>
              </a:extLst>
            </p:cNvPr>
            <p:cNvSpPr/>
            <p:nvPr/>
          </p:nvSpPr>
          <p:spPr>
            <a:xfrm>
              <a:off x="9896184" y="5412771"/>
              <a:ext cx="777965" cy="394638"/>
            </a:xfrm>
            <a:prstGeom prst="rect">
              <a:avLst/>
            </a:prstGeom>
            <a:solidFill>
              <a:srgbClr val="E4007F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B1544F0C-271C-2A47-A0F1-73A1C4104880}"/>
                </a:ext>
              </a:extLst>
            </p:cNvPr>
            <p:cNvSpPr/>
            <p:nvPr/>
          </p:nvSpPr>
          <p:spPr>
            <a:xfrm>
              <a:off x="9896184" y="1208127"/>
              <a:ext cx="777965" cy="4204644"/>
            </a:xfrm>
            <a:prstGeom prst="rect">
              <a:avLst/>
            </a:prstGeom>
            <a:noFill/>
            <a:ln w="3175" cap="sq">
              <a:solidFill>
                <a:schemeClr val="tx1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1219170" rtl="0" eaLnBrk="1" fontAlgn="base" latinLnBrk="0" hangingPunct="1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Tx/>
                <a:buSzTx/>
                <a:buFontTx/>
                <a:buNone/>
                <a:tabLst/>
                <a:defRPr/>
              </a:pPr>
              <a:endParaRPr kumimoji="1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43" name="Title 1">
              <a:extLst>
                <a:ext uri="{FF2B5EF4-FFF2-40B4-BE49-F238E27FC236}">
                  <a16:creationId xmlns:a16="http://schemas.microsoft.com/office/drawing/2014/main" id="{1B822A1C-87FA-6A4A-82A4-3BC58036FBD7}"/>
                </a:ext>
              </a:extLst>
            </p:cNvPr>
            <p:cNvSpPr txBox="1">
              <a:spLocks/>
            </p:cNvSpPr>
            <p:nvPr/>
          </p:nvSpPr>
          <p:spPr>
            <a:xfrm>
              <a:off x="9911004" y="2323534"/>
              <a:ext cx="777964" cy="3210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E4007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15-25% reduction</a:t>
              </a:r>
            </a:p>
          </p:txBody>
        </p:sp>
        <p:cxnSp>
          <p:nvCxnSpPr>
            <p:cNvPr id="44" name="Curved Connector 43">
              <a:extLst>
                <a:ext uri="{FF2B5EF4-FFF2-40B4-BE49-F238E27FC236}">
                  <a16:creationId xmlns:a16="http://schemas.microsoft.com/office/drawing/2014/main" id="{1D63AEBA-2E7E-8443-B42E-264D6697A25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820463" y="5475297"/>
              <a:ext cx="853686" cy="213714"/>
            </a:xfrm>
            <a:prstGeom prst="curvedConnector3">
              <a:avLst/>
            </a:prstGeom>
            <a:ln w="12700" cap="flat">
              <a:solidFill>
                <a:schemeClr val="bg1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Title 1">
              <a:extLst>
                <a:ext uri="{FF2B5EF4-FFF2-40B4-BE49-F238E27FC236}">
                  <a16:creationId xmlns:a16="http://schemas.microsoft.com/office/drawing/2014/main" id="{8AF19713-5057-9D4D-85AE-ECDC9CA68492}"/>
                </a:ext>
              </a:extLst>
            </p:cNvPr>
            <p:cNvSpPr txBox="1">
              <a:spLocks/>
            </p:cNvSpPr>
            <p:nvPr/>
          </p:nvSpPr>
          <p:spPr>
            <a:xfrm>
              <a:off x="10818113" y="4702089"/>
              <a:ext cx="777964" cy="96304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6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E4007F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ully integrated whole fleet offer with SPV finance model</a:t>
              </a:r>
            </a:p>
          </p:txBody>
        </p:sp>
        <p:sp>
          <p:nvSpPr>
            <p:cNvPr id="62" name="Title 1">
              <a:extLst>
                <a:ext uri="{FF2B5EF4-FFF2-40B4-BE49-F238E27FC236}">
                  <a16:creationId xmlns:a16="http://schemas.microsoft.com/office/drawing/2014/main" id="{1C1E5595-5F39-B140-AE02-E44BD7FB8EAD}"/>
                </a:ext>
              </a:extLst>
            </p:cNvPr>
            <p:cNvSpPr txBox="1">
              <a:spLocks/>
            </p:cNvSpPr>
            <p:nvPr/>
          </p:nvSpPr>
          <p:spPr>
            <a:xfrm>
              <a:off x="9435697" y="5855787"/>
              <a:ext cx="1728578" cy="5617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rtlCol="0" anchor="b" anchorCtr="0" compatLnSpc="1">
              <a:prstTxWarp prst="textNoShape">
                <a:avLst/>
              </a:prstTxWarp>
              <a:spAutoFit/>
            </a:bodyPr>
            <a:lstStyle>
              <a:lvl1pPr algn="l" defTabSz="685783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lang="en-US" sz="1350" b="1" kern="1200" cap="all" spc="0" baseline="0" dirty="0">
                  <a:ln w="6350" cap="flat">
                    <a:noFill/>
                    <a:miter lim="800000"/>
                  </a:ln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1pPr>
            </a:lstStyle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00" b="1" i="1" u="none" strike="noStrike" kern="1200" cap="all" spc="0" normalizeH="0" baseline="0" noProof="0">
                  <a:ln w="6350" cap="flat">
                    <a:noFill/>
                    <a:miter lim="800000"/>
                  </a:ln>
                  <a:solidFill>
                    <a:srgbClr val="002D75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ustainable finance and integrated approach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06B4B077-1406-B345-AE08-0C0863444E3D}"/>
              </a:ext>
            </a:extLst>
          </p:cNvPr>
          <p:cNvSpPr txBox="1"/>
          <p:nvPr/>
        </p:nvSpPr>
        <p:spPr>
          <a:xfrm>
            <a:off x="7999839" y="1763270"/>
            <a:ext cx="3884437" cy="29854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</a:pPr>
            <a:r>
              <a:rPr lang="en-US" sz="1300" dirty="0"/>
              <a:t>Building a sustainable and manageable finance platform to reduce costs of delivery and new revenue sources by delivering economies of scale and scope across: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Contract management – one neck on the block (battery charging issue management)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Risk management and technology innovation delivery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Procurement of fixed and mobile assets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Software solutions and data platform</a:t>
            </a:r>
          </a:p>
          <a:p>
            <a:pPr marL="742950" lvl="1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300" dirty="0"/>
              <a:t>Renewable energy generation and arbitrage</a:t>
            </a:r>
          </a:p>
        </p:txBody>
      </p:sp>
      <p:sp>
        <p:nvSpPr>
          <p:cNvPr id="11" name="Triangle 10">
            <a:extLst>
              <a:ext uri="{FF2B5EF4-FFF2-40B4-BE49-F238E27FC236}">
                <a16:creationId xmlns:a16="http://schemas.microsoft.com/office/drawing/2014/main" id="{792E05E3-8C5F-8E48-B573-EF19A92964E6}"/>
              </a:ext>
            </a:extLst>
          </p:cNvPr>
          <p:cNvSpPr/>
          <p:nvPr/>
        </p:nvSpPr>
        <p:spPr>
          <a:xfrm rot="5400000">
            <a:off x="7265956" y="3064552"/>
            <a:ext cx="869216" cy="234195"/>
          </a:xfrm>
          <a:prstGeom prst="triangle">
            <a:avLst/>
          </a:prstGeom>
          <a:solidFill>
            <a:srgbClr val="13225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9E87F73-C3CA-AF4E-BB4D-357B8949D713}"/>
              </a:ext>
            </a:extLst>
          </p:cNvPr>
          <p:cNvSpPr/>
          <p:nvPr/>
        </p:nvSpPr>
        <p:spPr>
          <a:xfrm>
            <a:off x="364451" y="742286"/>
            <a:ext cx="7107965" cy="5339232"/>
          </a:xfrm>
          <a:prstGeom prst="rect">
            <a:avLst/>
          </a:pr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sp>
        <p:nvSpPr>
          <p:cNvPr id="69" name="Title 1">
            <a:extLst>
              <a:ext uri="{FF2B5EF4-FFF2-40B4-BE49-F238E27FC236}">
                <a16:creationId xmlns:a16="http://schemas.microsoft.com/office/drawing/2014/main" id="{E551457C-D734-7547-A561-69920A388C89}"/>
              </a:ext>
            </a:extLst>
          </p:cNvPr>
          <p:cNvSpPr txBox="1">
            <a:spLocks/>
          </p:cNvSpPr>
          <p:nvPr/>
        </p:nvSpPr>
        <p:spPr>
          <a:xfrm>
            <a:off x="416836" y="189004"/>
            <a:ext cx="99397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all" spc="0" normalizeH="0" baseline="0">
                <a:ln w="6350" cap="flat">
                  <a:noFill/>
                  <a:miter lim="800000"/>
                </a:ln>
                <a:solidFill>
                  <a:srgbClr val="BABABA"/>
                </a:solidFill>
                <a:effectLst/>
                <a:uLnTx/>
                <a:uFillTx/>
                <a:latin typeface="Arial"/>
              </a:defRPr>
            </a:lvl1pPr>
          </a:lstStyle>
          <a:p>
            <a:r>
              <a:rPr lang="en-GB" dirty="0"/>
              <a:t>Delivering economies of scale to achieve a sustainable low cost model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68DBDBF-0218-274E-B013-BA6A75591B0A}"/>
              </a:ext>
            </a:extLst>
          </p:cNvPr>
          <p:cNvSpPr txBox="1"/>
          <p:nvPr/>
        </p:nvSpPr>
        <p:spPr>
          <a:xfrm>
            <a:off x="-523928" y="742285"/>
            <a:ext cx="65" cy="24622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US" sz="160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2F70EB78-5EA3-654E-8C26-545FE61DE228}"/>
              </a:ext>
            </a:extLst>
          </p:cNvPr>
          <p:cNvSpPr txBox="1"/>
          <p:nvPr/>
        </p:nvSpPr>
        <p:spPr>
          <a:xfrm>
            <a:off x="556347" y="6211669"/>
            <a:ext cx="104932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i="1" dirty="0"/>
              <a:t>Providing the opportunity for a ‘shared service’ approach to deliver economies of scale benefits to smaller operators</a:t>
            </a:r>
          </a:p>
        </p:txBody>
      </p:sp>
    </p:spTree>
    <p:extLst>
      <p:ext uri="{BB962C8B-B14F-4D97-AF65-F5344CB8AC3E}">
        <p14:creationId xmlns:p14="http://schemas.microsoft.com/office/powerpoint/2010/main" val="4198833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B94907E4-3DB6-421F-B7FA-923BCB15A9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54572" y="972407"/>
            <a:ext cx="6129867" cy="401583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AD36E08F-4B3B-2E43-960B-A17E5436A8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3600" y="150176"/>
            <a:ext cx="9862085" cy="276999"/>
          </a:xfr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en-GB" altLang="zh-TW" sz="1800" b="1" cap="all" dirty="0">
                <a:ln w="6350" cap="flat">
                  <a:noFill/>
                  <a:miter lim="800000"/>
                </a:ln>
                <a:solidFill>
                  <a:srgbClr val="BABABA"/>
                </a:solidFill>
                <a:latin typeface="Arial"/>
                <a:ea typeface="+mn-ea"/>
                <a:cs typeface="+mn-cs"/>
              </a:rPr>
              <a:t>Unlocking value of electrified fleets and depots – depot </a:t>
            </a:r>
            <a:r>
              <a:rPr lang="en-US" sz="1800" b="1" cap="all" dirty="0">
                <a:ln w="6350" cap="flat">
                  <a:noFill/>
                  <a:miter lim="800000"/>
                </a:ln>
                <a:solidFill>
                  <a:srgbClr val="BABABA"/>
                </a:solidFill>
                <a:latin typeface="Arial"/>
                <a:ea typeface="+mn-ea"/>
                <a:cs typeface="+mn-cs"/>
              </a:rPr>
              <a:t>of the futur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96762341-F7CF-7E4A-8402-D748FFE792E3}"/>
              </a:ext>
            </a:extLst>
          </p:cNvPr>
          <p:cNvGrpSpPr/>
          <p:nvPr/>
        </p:nvGrpSpPr>
        <p:grpSpPr>
          <a:xfrm>
            <a:off x="2312927" y="427175"/>
            <a:ext cx="8458640" cy="5489223"/>
            <a:chOff x="173660" y="1233412"/>
            <a:chExt cx="8458640" cy="5489223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4A8A808F-85E8-5A42-8C4F-3A9F231255E3}"/>
                </a:ext>
              </a:extLst>
            </p:cNvPr>
            <p:cNvGrpSpPr/>
            <p:nvPr/>
          </p:nvGrpSpPr>
          <p:grpSpPr>
            <a:xfrm>
              <a:off x="173660" y="1793045"/>
              <a:ext cx="8458640" cy="4929590"/>
              <a:chOff x="601427" y="1195366"/>
              <a:chExt cx="10984005" cy="6401347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338D298B-C1C4-48E8-99F1-E06E5467BC3C}"/>
                  </a:ext>
                </a:extLst>
              </p:cNvPr>
              <p:cNvSpPr txBox="1"/>
              <p:nvPr/>
            </p:nvSpPr>
            <p:spPr>
              <a:xfrm>
                <a:off x="4813247" y="6561272"/>
                <a:ext cx="2859173" cy="1035441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marL="0" marR="0" lvl="0" indent="0" algn="ctr" defTabSz="121914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2</a:t>
                </a:r>
                <a:r>
                  <a:rPr kumimoji="0" lang="en-US" sz="1100" b="0" i="0" u="none" strike="noStrike" kern="1200" cap="none" spc="0" normalizeH="0" baseline="3000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nd</a:t>
                </a: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 party charging – fleets from local businesses, government bodies, local authorities</a:t>
                </a:r>
                <a:endParaRPr kumimoji="0" lang="en-GB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14C97189-5A95-4944-B15F-421A5A1E589B}"/>
                  </a:ext>
                </a:extLst>
              </p:cNvPr>
              <p:cNvSpPr txBox="1"/>
              <p:nvPr/>
            </p:nvSpPr>
            <p:spPr>
              <a:xfrm>
                <a:off x="8381931" y="4913457"/>
                <a:ext cx="1597755" cy="1119259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marL="0" marR="0" lvl="0" indent="0" algn="ctr" defTabSz="121914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Private vehicle charging for employees and residents</a:t>
                </a: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E14C35D9-6250-42F8-AABE-BFCAABA53E8E}"/>
                  </a:ext>
                </a:extLst>
              </p:cNvPr>
              <p:cNvSpPr txBox="1"/>
              <p:nvPr/>
            </p:nvSpPr>
            <p:spPr>
              <a:xfrm>
                <a:off x="601427" y="5166848"/>
                <a:ext cx="1045216" cy="364112"/>
              </a:xfrm>
              <a:prstGeom prst="rect">
                <a:avLst/>
              </a:prstGeom>
              <a:noFill/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marL="0" marR="0" lvl="0" indent="0" algn="l" defTabSz="121914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PV solar generation</a:t>
                </a: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244CBF2A-07A3-4FB1-A09A-8A395B778435}"/>
                  </a:ext>
                </a:extLst>
              </p:cNvPr>
              <p:cNvSpPr txBox="1"/>
              <p:nvPr/>
            </p:nvSpPr>
            <p:spPr>
              <a:xfrm>
                <a:off x="641572" y="3335717"/>
                <a:ext cx="688260" cy="364112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>
                <a:noAutofit/>
              </a:bodyPr>
              <a:lstStyle/>
              <a:p>
                <a:pPr marL="0" marR="0" lvl="0" indent="0" algn="l" defTabSz="121914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Battery storage</a:t>
                </a:r>
                <a:endParaRPr kumimoji="0" lang="en-GB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cxnSp>
            <p:nvCxnSpPr>
              <p:cNvPr id="23" name="Connector: Elbow 22">
                <a:extLst>
                  <a:ext uri="{FF2B5EF4-FFF2-40B4-BE49-F238E27FC236}">
                    <a16:creationId xmlns:a16="http://schemas.microsoft.com/office/drawing/2014/main" id="{2B15C108-E673-40C4-A27B-812E96EF90AC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82906" y="1195366"/>
                <a:ext cx="2288606" cy="1376908"/>
              </a:xfrm>
              <a:prstGeom prst="bentConnector3">
                <a:avLst>
                  <a:gd name="adj1" fmla="val 89322"/>
                </a:avLst>
              </a:prstGeom>
              <a:ln w="3810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Connector: Elbow 23">
                <a:extLst>
                  <a:ext uri="{FF2B5EF4-FFF2-40B4-BE49-F238E27FC236}">
                    <a16:creationId xmlns:a16="http://schemas.microsoft.com/office/drawing/2014/main" id="{CA80FD68-7E8E-4158-BC57-2E96FB23EFF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19831" y="3813737"/>
                <a:ext cx="618104" cy="599808"/>
              </a:xfrm>
              <a:prstGeom prst="bentConnector3">
                <a:avLst>
                  <a:gd name="adj1" fmla="val 50000"/>
                </a:avLst>
              </a:prstGeom>
              <a:ln w="3810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Connector: Elbow 32">
                <a:extLst>
                  <a:ext uri="{FF2B5EF4-FFF2-40B4-BE49-F238E27FC236}">
                    <a16:creationId xmlns:a16="http://schemas.microsoft.com/office/drawing/2014/main" id="{597ED683-D76C-4805-922E-7CAFC7A504C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698794" y="4982810"/>
                <a:ext cx="1683136" cy="474327"/>
              </a:xfrm>
              <a:prstGeom prst="bentConnector3">
                <a:avLst>
                  <a:gd name="adj1" fmla="val 87501"/>
                </a:avLst>
              </a:prstGeom>
              <a:ln w="3810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Connector: Elbow 35">
                <a:extLst>
                  <a:ext uri="{FF2B5EF4-FFF2-40B4-BE49-F238E27FC236}">
                    <a16:creationId xmlns:a16="http://schemas.microsoft.com/office/drawing/2014/main" id="{164F6CA2-60D8-44C6-804A-6508F3BB8490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V="1">
                <a:off x="4080469" y="5472778"/>
                <a:ext cx="1465559" cy="999913"/>
              </a:xfrm>
              <a:prstGeom prst="bentConnector3">
                <a:avLst>
                  <a:gd name="adj1" fmla="val 50000"/>
                </a:avLst>
              </a:prstGeom>
              <a:ln w="3810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Connector: Elbow 40">
                <a:extLst>
                  <a:ext uri="{FF2B5EF4-FFF2-40B4-BE49-F238E27FC236}">
                    <a16:creationId xmlns:a16="http://schemas.microsoft.com/office/drawing/2014/main" id="{76D49EB8-3C0C-4941-A74D-CAB520B196E2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405195" y="4913457"/>
                <a:ext cx="1083072" cy="447163"/>
              </a:xfrm>
              <a:prstGeom prst="bentConnector3">
                <a:avLst>
                  <a:gd name="adj1" fmla="val 74235"/>
                </a:avLst>
              </a:prstGeom>
              <a:ln w="3810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283D5EF-98B6-4942-9054-847B9ADA2B4C}"/>
                  </a:ext>
                </a:extLst>
              </p:cNvPr>
              <p:cNvSpPr txBox="1"/>
              <p:nvPr/>
            </p:nvSpPr>
            <p:spPr>
              <a:xfrm>
                <a:off x="9021065" y="2958144"/>
                <a:ext cx="2564367" cy="1119259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marL="0" marR="0" lvl="0" indent="0" algn="ctr" defTabSz="121914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Future potential: Café &amp; Retail </a:t>
                </a:r>
                <a:br>
                  <a:rPr kumimoji="0" lang="en-US" sz="11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</a:br>
                <a:r>
                  <a:rPr kumimoji="0" lang="en-US" sz="11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expansion (extending wallet share from charging time)</a:t>
                </a:r>
                <a:endParaRPr kumimoji="0" lang="en-GB" sz="1100" b="0" i="1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cxnSp>
            <p:nvCxnSpPr>
              <p:cNvPr id="16" name="Connector: Elbow 32">
                <a:extLst>
                  <a:ext uri="{FF2B5EF4-FFF2-40B4-BE49-F238E27FC236}">
                    <a16:creationId xmlns:a16="http://schemas.microsoft.com/office/drawing/2014/main" id="{DBF43B35-AB82-1E40-8825-9AF988B00FE1}"/>
                  </a:ext>
                </a:extLst>
              </p:cNvPr>
              <p:cNvCxnSpPr>
                <a:cxnSpLocks/>
              </p:cNvCxnSpPr>
              <p:nvPr/>
            </p:nvCxnSpPr>
            <p:spPr>
              <a:xfrm rot="16200000" flipH="1">
                <a:off x="4443718" y="3583187"/>
                <a:ext cx="1894104" cy="1853801"/>
              </a:xfrm>
              <a:prstGeom prst="bentConnector3">
                <a:avLst>
                  <a:gd name="adj1" fmla="val 50000"/>
                </a:avLst>
              </a:prstGeom>
              <a:ln w="3810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4993111-16F0-F74F-A437-87264BFF5EB9}"/>
                  </a:ext>
                </a:extLst>
              </p:cNvPr>
              <p:cNvSpPr txBox="1"/>
              <p:nvPr/>
            </p:nvSpPr>
            <p:spPr>
              <a:xfrm>
                <a:off x="5506374" y="5285046"/>
                <a:ext cx="2159849" cy="1119259"/>
              </a:xfrm>
              <a:prstGeom prst="rect">
                <a:avLst/>
              </a:prstGeom>
              <a:ln w="6350">
                <a:noFill/>
                <a:miter lim="800000"/>
              </a:ln>
            </p:spPr>
            <p:txBody>
              <a:bodyPr vert="horz" wrap="square" lIns="0" tIns="0" rIns="0" bIns="0" rtlCol="0" anchor="ctr">
                <a:noAutofit/>
              </a:bodyPr>
              <a:lstStyle/>
              <a:p>
                <a:pPr marL="0" marR="0" lvl="0" indent="0" algn="ctr" defTabSz="121914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1" u="none" strike="noStrike" kern="1200" cap="none" spc="0" normalizeH="0" baseline="0" noProof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Open Sans"/>
                    <a:ea typeface="+mn-ea"/>
                    <a:cs typeface="+mn-cs"/>
                  </a:rPr>
                  <a:t>Future potential: on or over-site development for residential &amp; commercial</a:t>
                </a:r>
                <a:endParaRPr kumimoji="0" lang="en-GB" sz="1100" b="0" i="1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endParaRPr>
              </a:p>
            </p:txBody>
          </p:sp>
          <p:cxnSp>
            <p:nvCxnSpPr>
              <p:cNvPr id="19" name="Connector: Elbow 32">
                <a:extLst>
                  <a:ext uri="{FF2B5EF4-FFF2-40B4-BE49-F238E27FC236}">
                    <a16:creationId xmlns:a16="http://schemas.microsoft.com/office/drawing/2014/main" id="{B4DA851E-F520-5D4C-B6F5-64EFCA7663B1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>
                <a:off x="7760678" y="2992400"/>
                <a:ext cx="1319332" cy="621256"/>
              </a:xfrm>
              <a:prstGeom prst="bentConnector3">
                <a:avLst>
                  <a:gd name="adj1" fmla="val 50000"/>
                </a:avLst>
              </a:prstGeom>
              <a:ln w="38100" cap="flat">
                <a:solidFill>
                  <a:schemeClr val="accent2"/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9AE2465-30DE-4AF1-92C6-D0BFB47E706A}"/>
                </a:ext>
              </a:extLst>
            </p:cNvPr>
            <p:cNvSpPr txBox="1"/>
            <p:nvPr/>
          </p:nvSpPr>
          <p:spPr>
            <a:xfrm>
              <a:off x="5345334" y="1233412"/>
              <a:ext cx="1596287" cy="1119259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0" indent="0" algn="ctr" defTabSz="121914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eBuses</a:t>
              </a:r>
              <a:r>
                <a: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 and charging infrastructure</a:t>
              </a:r>
              <a:endPara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</p:grpSp>
      <p:sp>
        <p:nvSpPr>
          <p:cNvPr id="37" name="TextBox 36">
            <a:extLst>
              <a:ext uri="{FF2B5EF4-FFF2-40B4-BE49-F238E27FC236}">
                <a16:creationId xmlns:a16="http://schemas.microsoft.com/office/drawing/2014/main" id="{D7D74D32-463C-614B-82B4-7139D63FDBD4}"/>
              </a:ext>
            </a:extLst>
          </p:cNvPr>
          <p:cNvSpPr txBox="1"/>
          <p:nvPr/>
        </p:nvSpPr>
        <p:spPr>
          <a:xfrm>
            <a:off x="2544018" y="1303756"/>
            <a:ext cx="804907" cy="280398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PV solar canopies</a:t>
            </a: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38" name="Connector: Elbow 40">
            <a:extLst>
              <a:ext uri="{FF2B5EF4-FFF2-40B4-BE49-F238E27FC236}">
                <a16:creationId xmlns:a16="http://schemas.microsoft.com/office/drawing/2014/main" id="{BCC05B9B-5107-7E4B-8092-D4DC0D8F9CA8}"/>
              </a:ext>
            </a:extLst>
          </p:cNvPr>
          <p:cNvCxnSpPr>
            <a:cxnSpLocks/>
          </p:cNvCxnSpPr>
          <p:nvPr/>
        </p:nvCxnSpPr>
        <p:spPr>
          <a:xfrm>
            <a:off x="3192598" y="1462434"/>
            <a:ext cx="525362" cy="337783"/>
          </a:xfrm>
          <a:prstGeom prst="bentConnector3">
            <a:avLst>
              <a:gd name="adj1" fmla="val 50000"/>
            </a:avLst>
          </a:prstGeom>
          <a:ln w="38100" cap="flat">
            <a:solidFill>
              <a:schemeClr val="accent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CFBE123A-D1E9-2B4D-81BC-8142C96E7CE4}"/>
              </a:ext>
            </a:extLst>
          </p:cNvPr>
          <p:cNvSpPr txBox="1"/>
          <p:nvPr/>
        </p:nvSpPr>
        <p:spPr>
          <a:xfrm>
            <a:off x="1015697" y="6150147"/>
            <a:ext cx="101489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/>
              <a:t>Underpinned by a unique profit-sharing approach to new revenue generation opportunities</a:t>
            </a:r>
          </a:p>
        </p:txBody>
      </p:sp>
    </p:spTree>
    <p:extLst>
      <p:ext uri="{BB962C8B-B14F-4D97-AF65-F5344CB8AC3E}">
        <p14:creationId xmlns:p14="http://schemas.microsoft.com/office/powerpoint/2010/main" val="13507493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 descr="HSI_PG_FINAL LOCKUP_JPN-EN_16-9-02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294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4274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HAAhBNl9S15R9lAUS6w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7E000A"/>
      </a:accent1>
      <a:accent2>
        <a:srgbClr val="FF212C"/>
      </a:accent2>
      <a:accent3>
        <a:srgbClr val="C8000E"/>
      </a:accent3>
      <a:accent4>
        <a:srgbClr val="D1D1D1"/>
      </a:accent4>
      <a:accent5>
        <a:srgbClr val="585858"/>
      </a:accent5>
      <a:accent6>
        <a:srgbClr val="BABABA"/>
      </a:accent6>
      <a:hlink>
        <a:srgbClr val="0000FF"/>
      </a:hlink>
      <a:folHlink>
        <a:srgbClr val="800080"/>
      </a:folHlink>
    </a:clrScheme>
    <a:fontScheme name="Hitachi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E000A"/>
        </a:accent1>
        <a:accent2>
          <a:srgbClr val="FF212C"/>
        </a:accent2>
        <a:accent3>
          <a:srgbClr val="C8000E"/>
        </a:accent3>
        <a:accent4>
          <a:srgbClr val="D1D1D1"/>
        </a:accent4>
        <a:accent5>
          <a:srgbClr val="585858"/>
        </a:accent5>
        <a:accent6>
          <a:srgbClr val="BABA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Hitachi template v2.potx" id="{57DC7A3D-5DAD-45BB-89E7-CF2BC338281C}" vid="{15219D8F-7E48-4824-98EA-94B9219F1204}"/>
    </a:ext>
  </a:extLst>
</a:theme>
</file>

<file path=ppt/theme/theme3.xml><?xml version="1.0" encoding="utf-8"?>
<a:theme xmlns:a="http://schemas.openxmlformats.org/drawingml/2006/main" name="5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7E000A"/>
      </a:accent1>
      <a:accent2>
        <a:srgbClr val="FF212C"/>
      </a:accent2>
      <a:accent3>
        <a:srgbClr val="C8000E"/>
      </a:accent3>
      <a:accent4>
        <a:srgbClr val="D1D1D1"/>
      </a:accent4>
      <a:accent5>
        <a:srgbClr val="585858"/>
      </a:accent5>
      <a:accent6>
        <a:srgbClr val="BABABA"/>
      </a:accent6>
      <a:hlink>
        <a:srgbClr val="0000FF"/>
      </a:hlink>
      <a:folHlink>
        <a:srgbClr val="800080"/>
      </a:folHlink>
    </a:clrScheme>
    <a:fontScheme name="Hitachi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E000A"/>
        </a:accent1>
        <a:accent2>
          <a:srgbClr val="FF212C"/>
        </a:accent2>
        <a:accent3>
          <a:srgbClr val="C8000E"/>
        </a:accent3>
        <a:accent4>
          <a:srgbClr val="D1D1D1"/>
        </a:accent4>
        <a:accent5>
          <a:srgbClr val="585858"/>
        </a:accent5>
        <a:accent6>
          <a:srgbClr val="BABA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Hitachi template v2.potx" id="{57DC7A3D-5DAD-45BB-89E7-CF2BC338281C}" vid="{15219D8F-7E48-4824-98EA-94B9219F1204}"/>
    </a:ext>
  </a:extLst>
</a:theme>
</file>

<file path=ppt/theme/theme4.xml><?xml version="1.0" encoding="utf-8"?>
<a:theme xmlns:a="http://schemas.openxmlformats.org/drawingml/2006/main" name="1_HC 2013 External Master v 1.0">
  <a:themeElements>
    <a:clrScheme name="Custom 5">
      <a:dk1>
        <a:srgbClr val="141313"/>
      </a:dk1>
      <a:lt1>
        <a:sysClr val="window" lastClr="FFFFFF"/>
      </a:lt1>
      <a:dk2>
        <a:srgbClr val="272727"/>
      </a:dk2>
      <a:lt2>
        <a:srgbClr val="CECFCD"/>
      </a:lt2>
      <a:accent1>
        <a:srgbClr val="6BA443"/>
      </a:accent1>
      <a:accent2>
        <a:srgbClr val="DB2C29"/>
      </a:accent2>
      <a:accent3>
        <a:srgbClr val="006EA3"/>
      </a:accent3>
      <a:accent4>
        <a:srgbClr val="FED106"/>
      </a:accent4>
      <a:accent5>
        <a:srgbClr val="9C9E9F"/>
      </a:accent5>
      <a:accent6>
        <a:srgbClr val="6D6E6D"/>
      </a:accent6>
      <a:hlink>
        <a:srgbClr val="DC4405"/>
      </a:hlink>
      <a:folHlink>
        <a:srgbClr val="919D9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7E000A"/>
      </a:accent1>
      <a:accent2>
        <a:srgbClr val="FF212C"/>
      </a:accent2>
      <a:accent3>
        <a:srgbClr val="C8000E"/>
      </a:accent3>
      <a:accent4>
        <a:srgbClr val="D1D1D1"/>
      </a:accent4>
      <a:accent5>
        <a:srgbClr val="585858"/>
      </a:accent5>
      <a:accent6>
        <a:srgbClr val="BABABA"/>
      </a:accent6>
      <a:hlink>
        <a:srgbClr val="0000FF"/>
      </a:hlink>
      <a:folHlink>
        <a:srgbClr val="800080"/>
      </a:folHlink>
    </a:clrScheme>
    <a:fontScheme name="Hitachi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E000A"/>
        </a:accent1>
        <a:accent2>
          <a:srgbClr val="FF212C"/>
        </a:accent2>
        <a:accent3>
          <a:srgbClr val="C8000E"/>
        </a:accent3>
        <a:accent4>
          <a:srgbClr val="D1D1D1"/>
        </a:accent4>
        <a:accent5>
          <a:srgbClr val="585858"/>
        </a:accent5>
        <a:accent6>
          <a:srgbClr val="BABA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Hitachi template v2.potx" id="{57DC7A3D-5DAD-45BB-89E7-CF2BC338281C}" vid="{15219D8F-7E48-4824-98EA-94B9219F1204}"/>
    </a:ext>
  </a:extLst>
</a:theme>
</file>

<file path=ppt/theme/theme6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7E000A"/>
      </a:accent1>
      <a:accent2>
        <a:srgbClr val="FF212C"/>
      </a:accent2>
      <a:accent3>
        <a:srgbClr val="C8000E"/>
      </a:accent3>
      <a:accent4>
        <a:srgbClr val="D1D1D1"/>
      </a:accent4>
      <a:accent5>
        <a:srgbClr val="585858"/>
      </a:accent5>
      <a:accent6>
        <a:srgbClr val="BABABA"/>
      </a:accent6>
      <a:hlink>
        <a:srgbClr val="0000FF"/>
      </a:hlink>
      <a:folHlink>
        <a:srgbClr val="800080"/>
      </a:folHlink>
    </a:clrScheme>
    <a:fontScheme name="Hitachi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E000A"/>
        </a:accent1>
        <a:accent2>
          <a:srgbClr val="FF212C"/>
        </a:accent2>
        <a:accent3>
          <a:srgbClr val="C8000E"/>
        </a:accent3>
        <a:accent4>
          <a:srgbClr val="D1D1D1"/>
        </a:accent4>
        <a:accent5>
          <a:srgbClr val="585858"/>
        </a:accent5>
        <a:accent6>
          <a:srgbClr val="BABA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Hitachi template v2.potx" id="{57DC7A3D-5DAD-45BB-89E7-CF2BC338281C}" vid="{15219D8F-7E48-4824-98EA-94B9219F1204}"/>
    </a:ext>
  </a:extLst>
</a:theme>
</file>

<file path=ppt/theme/theme7.xml><?xml version="1.0" encoding="utf-8"?>
<a:theme xmlns:a="http://schemas.openxmlformats.org/drawingml/2006/main" name="2_HC 2013 External Master v 1.0">
  <a:themeElements>
    <a:clrScheme name="ユーザー定義 1">
      <a:dk1>
        <a:sysClr val="windowText" lastClr="000000"/>
      </a:dk1>
      <a:lt1>
        <a:sysClr val="window" lastClr="FFFFFF"/>
      </a:lt1>
      <a:dk2>
        <a:srgbClr val="2D2D2D"/>
      </a:dk2>
      <a:lt2>
        <a:srgbClr val="FF0026"/>
      </a:lt2>
      <a:accent1>
        <a:srgbClr val="D9D9D9"/>
      </a:accent1>
      <a:accent2>
        <a:srgbClr val="B3B3B3"/>
      </a:accent2>
      <a:accent3>
        <a:srgbClr val="737373"/>
      </a:accent3>
      <a:accent4>
        <a:srgbClr val="4D4D4D"/>
      </a:accent4>
      <a:accent5>
        <a:srgbClr val="B1000E"/>
      </a:accent5>
      <a:accent6>
        <a:srgbClr val="7E000A"/>
      </a:accent6>
      <a:hlink>
        <a:srgbClr val="B1000E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_HC 2013 External Master v 1.0">
  <a:themeElements>
    <a:clrScheme name="Custom 5">
      <a:dk1>
        <a:srgbClr val="141313"/>
      </a:dk1>
      <a:lt1>
        <a:sysClr val="window" lastClr="FFFFFF"/>
      </a:lt1>
      <a:dk2>
        <a:srgbClr val="272727"/>
      </a:dk2>
      <a:lt2>
        <a:srgbClr val="CECFCD"/>
      </a:lt2>
      <a:accent1>
        <a:srgbClr val="6BA443"/>
      </a:accent1>
      <a:accent2>
        <a:srgbClr val="DB2C29"/>
      </a:accent2>
      <a:accent3>
        <a:srgbClr val="006EA3"/>
      </a:accent3>
      <a:accent4>
        <a:srgbClr val="FED106"/>
      </a:accent4>
      <a:accent5>
        <a:srgbClr val="9C9E9F"/>
      </a:accent5>
      <a:accent6>
        <a:srgbClr val="6D6E6D"/>
      </a:accent6>
      <a:hlink>
        <a:srgbClr val="DC4405"/>
      </a:hlink>
      <a:folHlink>
        <a:srgbClr val="919D9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4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7E000A"/>
      </a:accent1>
      <a:accent2>
        <a:srgbClr val="FF212C"/>
      </a:accent2>
      <a:accent3>
        <a:srgbClr val="C8000E"/>
      </a:accent3>
      <a:accent4>
        <a:srgbClr val="D1D1D1"/>
      </a:accent4>
      <a:accent5>
        <a:srgbClr val="585858"/>
      </a:accent5>
      <a:accent6>
        <a:srgbClr val="BABABA"/>
      </a:accent6>
      <a:hlink>
        <a:srgbClr val="0000FF"/>
      </a:hlink>
      <a:folHlink>
        <a:srgbClr val="800080"/>
      </a:folHlink>
    </a:clrScheme>
    <a:fontScheme name="Hitachi">
      <a:majorFont>
        <a:latin typeface="Open Sans"/>
        <a:ea typeface=""/>
        <a:cs typeface=""/>
      </a:majorFont>
      <a:minorFont>
        <a:latin typeface="Open Sa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7E000A"/>
        </a:accent1>
        <a:accent2>
          <a:srgbClr val="FF212C"/>
        </a:accent2>
        <a:accent3>
          <a:srgbClr val="C8000E"/>
        </a:accent3>
        <a:accent4>
          <a:srgbClr val="D1D1D1"/>
        </a:accent4>
        <a:accent5>
          <a:srgbClr val="585858"/>
        </a:accent5>
        <a:accent6>
          <a:srgbClr val="BABABA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Hitachi template v2.potx" id="{57DC7A3D-5DAD-45BB-89E7-CF2BC338281C}" vid="{15219D8F-7E48-4824-98EA-94B9219F120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905</TotalTime>
  <Words>627</Words>
  <Application>Microsoft Macintosh PowerPoint</Application>
  <PresentationFormat>Widescreen</PresentationFormat>
  <Paragraphs>78</Paragraphs>
  <Slides>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30" baseType="lpstr">
      <vt:lpstr>HGPｺﾞｼｯｸE</vt:lpstr>
      <vt:lpstr>ＭＳ Ｐゴシック</vt:lpstr>
      <vt:lpstr>Yu Gothic UI</vt:lpstr>
      <vt:lpstr>-webkit-standard</vt:lpstr>
      <vt:lpstr>Arial</vt:lpstr>
      <vt:lpstr>Bahnschrift Light</vt:lpstr>
      <vt:lpstr>Bahnschrift SemiBold</vt:lpstr>
      <vt:lpstr>Calibri</vt:lpstr>
      <vt:lpstr>Calibri Light</vt:lpstr>
      <vt:lpstr>Georgia</vt:lpstr>
      <vt:lpstr>Open Sans</vt:lpstr>
      <vt:lpstr>Segoe UI</vt:lpstr>
      <vt:lpstr>Wingdings</vt:lpstr>
      <vt:lpstr>1_Office Theme</vt:lpstr>
      <vt:lpstr>1_White</vt:lpstr>
      <vt:lpstr>5_White</vt:lpstr>
      <vt:lpstr>1_HC 2013 External Master v 1.0</vt:lpstr>
      <vt:lpstr>3_White</vt:lpstr>
      <vt:lpstr>2_White</vt:lpstr>
      <vt:lpstr>2_HC 2013 External Master v 1.0</vt:lpstr>
      <vt:lpstr>3_HC 2013 External Master v 1.0</vt:lpstr>
      <vt:lpstr>4_Whit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Unlocking value of electrified fleets and depots – depot of the futur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ugent, Mike</dc:creator>
  <cp:lastModifiedBy>Nugent, Mike</cp:lastModifiedBy>
  <cp:revision>3</cp:revision>
  <dcterms:created xsi:type="dcterms:W3CDTF">2021-10-11T12:24:15Z</dcterms:created>
  <dcterms:modified xsi:type="dcterms:W3CDTF">2022-02-02T09:13:12Z</dcterms:modified>
</cp:coreProperties>
</file>